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4"/>
  </p:notesMasterIdLst>
  <p:sldIdLst>
    <p:sldId id="257" r:id="rId2"/>
    <p:sldId id="1012" r:id="rId3"/>
    <p:sldId id="1027" r:id="rId4"/>
    <p:sldId id="1054" r:id="rId5"/>
    <p:sldId id="1053" r:id="rId6"/>
    <p:sldId id="1055" r:id="rId7"/>
    <p:sldId id="1035" r:id="rId8"/>
    <p:sldId id="1056" r:id="rId9"/>
    <p:sldId id="1057" r:id="rId10"/>
    <p:sldId id="1038" r:id="rId11"/>
    <p:sldId id="1058" r:id="rId12"/>
    <p:sldId id="821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9"/>
    <p:restoredTop sz="94470"/>
  </p:normalViewPr>
  <p:slideViewPr>
    <p:cSldViewPr snapToObjects="1">
      <p:cViewPr varScale="1">
        <p:scale>
          <a:sx n="106" d="100"/>
          <a:sy n="106" d="100"/>
        </p:scale>
        <p:origin x="10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6/22/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 dirty="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Kette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2.06.22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2.06.22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tiff"/><Relationship Id="rId4" Type="http://schemas.openxmlformats.org/officeDocument/2006/relationships/hyperlink" Target="mailto:is3-teaching@wiso.uni-koeln.d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10 – Finite Markov Decision Process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6/22/22</a:t>
            </a:fld>
            <a:endParaRPr lang="en-US" altLang="de-DE" sz="110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93">
            <a:extLst>
              <a:ext uri="{FF2B5EF4-FFF2-40B4-BE49-F238E27FC236}">
                <a16:creationId xmlns:a16="http://schemas.microsoft.com/office/drawing/2014/main" id="{6855ADDF-5F82-B306-2789-F8707C624629}"/>
              </a:ext>
            </a:extLst>
          </p:cNvPr>
          <p:cNvSpPr/>
          <p:nvPr/>
        </p:nvSpPr>
        <p:spPr>
          <a:xfrm>
            <a:off x="695400" y="3789040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0F029399-378F-7286-05B9-4591B6D33846}"/>
              </a:ext>
            </a:extLst>
          </p:cNvPr>
          <p:cNvSpPr txBox="1"/>
          <p:nvPr/>
        </p:nvSpPr>
        <p:spPr>
          <a:xfrm>
            <a:off x="1055795" y="165703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6" name="TextBox 391">
            <a:extLst>
              <a:ext uri="{FF2B5EF4-FFF2-40B4-BE49-F238E27FC236}">
                <a16:creationId xmlns:a16="http://schemas.microsoft.com/office/drawing/2014/main" id="{640944E7-1848-E4C1-4D22-06A3D3AFB223}"/>
              </a:ext>
            </a:extLst>
          </p:cNvPr>
          <p:cNvSpPr txBox="1"/>
          <p:nvPr/>
        </p:nvSpPr>
        <p:spPr>
          <a:xfrm>
            <a:off x="863434" y="276503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7D8AD53E-2518-0AA4-E435-279D04BA97DF}"/>
              </a:ext>
            </a:extLst>
          </p:cNvPr>
          <p:cNvSpPr txBox="1"/>
          <p:nvPr/>
        </p:nvSpPr>
        <p:spPr>
          <a:xfrm>
            <a:off x="2003384" y="1949424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81FF1569-0D61-D685-A4B1-9B90A757F7FD}"/>
              </a:ext>
            </a:extLst>
          </p:cNvPr>
          <p:cNvSpPr txBox="1"/>
          <p:nvPr/>
        </p:nvSpPr>
        <p:spPr>
          <a:xfrm>
            <a:off x="2003384" y="305742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</a:p>
        </p:txBody>
      </p:sp>
      <p:sp>
        <p:nvSpPr>
          <p:cNvPr id="19" name="TextBox 391">
            <a:extLst>
              <a:ext uri="{FF2B5EF4-FFF2-40B4-BE49-F238E27FC236}">
                <a16:creationId xmlns:a16="http://schemas.microsoft.com/office/drawing/2014/main" id="{B88155F7-1511-0707-6804-EF4C262CAB9D}"/>
              </a:ext>
            </a:extLst>
          </p:cNvPr>
          <p:cNvSpPr txBox="1"/>
          <p:nvPr/>
        </p:nvSpPr>
        <p:spPr>
          <a:xfrm>
            <a:off x="695400" y="3750568"/>
            <a:ext cx="76174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</a:t>
            </a: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B29F14CF-5D83-9129-C899-C23E98A260EF}"/>
              </a:ext>
            </a:extLst>
          </p:cNvPr>
          <p:cNvSpPr txBox="1"/>
          <p:nvPr/>
        </p:nvSpPr>
        <p:spPr>
          <a:xfrm>
            <a:off x="1993612" y="4042956"/>
            <a:ext cx="1951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</a:p>
        </p:txBody>
      </p:sp>
    </p:spTree>
    <p:extLst>
      <p:ext uri="{BB962C8B-B14F-4D97-AF65-F5344CB8AC3E}">
        <p14:creationId xmlns:p14="http://schemas.microsoft.com/office/powerpoint/2010/main" val="3464376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1030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026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6E4E656-177B-BAD5-6CAE-08716C61CC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144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93">
            <a:extLst>
              <a:ext uri="{FF2B5EF4-FFF2-40B4-BE49-F238E27FC236}">
                <a16:creationId xmlns:a16="http://schemas.microsoft.com/office/drawing/2014/main" id="{DD8686BE-2107-A932-A561-EFF6BD423E5B}"/>
              </a:ext>
            </a:extLst>
          </p:cNvPr>
          <p:cNvSpPr/>
          <p:nvPr/>
        </p:nvSpPr>
        <p:spPr>
          <a:xfrm>
            <a:off x="695400" y="1695508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B6BAE7AD-0B47-146F-4569-75B0EB8E091C}"/>
              </a:ext>
            </a:extLst>
          </p:cNvPr>
          <p:cNvSpPr txBox="1"/>
          <p:nvPr/>
        </p:nvSpPr>
        <p:spPr>
          <a:xfrm>
            <a:off x="1055795" y="165703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6" name="TextBox 391">
            <a:extLst>
              <a:ext uri="{FF2B5EF4-FFF2-40B4-BE49-F238E27FC236}">
                <a16:creationId xmlns:a16="http://schemas.microsoft.com/office/drawing/2014/main" id="{C4B213EA-0D0A-6553-5B25-5A243F654417}"/>
              </a:ext>
            </a:extLst>
          </p:cNvPr>
          <p:cNvSpPr txBox="1"/>
          <p:nvPr/>
        </p:nvSpPr>
        <p:spPr>
          <a:xfrm>
            <a:off x="863434" y="276503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B90C7516-40D8-CD34-E0A9-F3E5F3A0E189}"/>
              </a:ext>
            </a:extLst>
          </p:cNvPr>
          <p:cNvSpPr txBox="1"/>
          <p:nvPr/>
        </p:nvSpPr>
        <p:spPr>
          <a:xfrm>
            <a:off x="2003384" y="1949424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ABDDB98D-D193-5C46-1011-6D3298CE9F55}"/>
              </a:ext>
            </a:extLst>
          </p:cNvPr>
          <p:cNvSpPr txBox="1"/>
          <p:nvPr/>
        </p:nvSpPr>
        <p:spPr>
          <a:xfrm>
            <a:off x="2003384" y="305742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</a:p>
        </p:txBody>
      </p:sp>
      <p:sp>
        <p:nvSpPr>
          <p:cNvPr id="19" name="TextBox 391">
            <a:extLst>
              <a:ext uri="{FF2B5EF4-FFF2-40B4-BE49-F238E27FC236}">
                <a16:creationId xmlns:a16="http://schemas.microsoft.com/office/drawing/2014/main" id="{7800209F-D1D3-A02F-AE5C-265F1D53B97F}"/>
              </a:ext>
            </a:extLst>
          </p:cNvPr>
          <p:cNvSpPr txBox="1"/>
          <p:nvPr/>
        </p:nvSpPr>
        <p:spPr>
          <a:xfrm>
            <a:off x="695400" y="3750568"/>
            <a:ext cx="76174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</a:t>
            </a: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56520813-7939-FC1B-7BFA-B03E0B58268E}"/>
              </a:ext>
            </a:extLst>
          </p:cNvPr>
          <p:cNvSpPr txBox="1"/>
          <p:nvPr/>
        </p:nvSpPr>
        <p:spPr>
          <a:xfrm>
            <a:off x="1993612" y="4042956"/>
            <a:ext cx="1951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</a:p>
        </p:txBody>
      </p:sp>
    </p:spTree>
    <p:extLst>
      <p:ext uri="{BB962C8B-B14F-4D97-AF65-F5344CB8AC3E}">
        <p14:creationId xmlns:p14="http://schemas.microsoft.com/office/powerpoint/2010/main" val="228915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1: Episodic MDP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615145" y="1963534"/>
            <a:ext cx="8928992" cy="293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hat is the goal with episodic decision processes? 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. Maximize immediate reward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Minimize steps to reach terminal state</a:t>
            </a:r>
            <a:endParaRPr lang="en-DE" sz="24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i. Maximize episode return</a:t>
            </a:r>
          </a:p>
        </p:txBody>
      </p:sp>
    </p:spTree>
    <p:extLst>
      <p:ext uri="{BB962C8B-B14F-4D97-AF65-F5344CB8AC3E}">
        <p14:creationId xmlns:p14="http://schemas.microsoft.com/office/powerpoint/2010/main" val="915815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1: Episodic MDP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631504" y="1963534"/>
            <a:ext cx="8928992" cy="293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What is the goal with episodic decision processes? 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. Maximize immediate reward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inimize steps to reach terminal state</a:t>
            </a:r>
            <a:endParaRPr lang="en-DE" sz="2400" dirty="0">
              <a:solidFill>
                <a:schemeClr val="bg1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	iii. Maximize episode return</a:t>
            </a:r>
          </a:p>
        </p:txBody>
      </p:sp>
    </p:spTree>
    <p:extLst>
      <p:ext uri="{BB962C8B-B14F-4D97-AF65-F5344CB8AC3E}">
        <p14:creationId xmlns:p14="http://schemas.microsoft.com/office/powerpoint/2010/main" val="3468710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2: Solving Markov Decision Process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631504" y="1686536"/>
            <a:ext cx="8928992" cy="274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How would you solve the MDP of playing chess?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. Monte Carlo (model-free, complete episodes available)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de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Dynamic </a:t>
            </a:r>
            <a:r>
              <a:rPr lang="de-DE" sz="24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r>
              <a:rPr lang="de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 (model-</a:t>
            </a:r>
            <a:r>
              <a:rPr lang="de-DE" sz="24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ased</a:t>
            </a:r>
            <a:r>
              <a:rPr lang="de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)</a:t>
            </a:r>
            <a:endParaRPr lang="en-DE" sz="24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iii. Temporal-Difference (model-free, online)</a:t>
            </a:r>
          </a:p>
        </p:txBody>
      </p:sp>
    </p:spTree>
    <p:extLst>
      <p:ext uri="{BB962C8B-B14F-4D97-AF65-F5344CB8AC3E}">
        <p14:creationId xmlns:p14="http://schemas.microsoft.com/office/powerpoint/2010/main" val="3060486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2: Solving Markov Decision Process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AE4CF6-043A-494D-95BC-20DB5A11AA39}"/>
              </a:ext>
            </a:extLst>
          </p:cNvPr>
          <p:cNvSpPr/>
          <p:nvPr/>
        </p:nvSpPr>
        <p:spPr>
          <a:xfrm>
            <a:off x="1631504" y="2055867"/>
            <a:ext cx="8928992" cy="274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How would you solve the MDP of playing chess?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latin typeface="Arial Narrow" panose="020B0604020202020204" pitchFamily="34" charset="0"/>
                <a:cs typeface="Arial Narrow" panose="020B0604020202020204" pitchFamily="34" charset="0"/>
              </a:rPr>
              <a:t>	</a:t>
            </a:r>
            <a:r>
              <a:rPr lang="en-DE" sz="2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i. Monte Carlo (model-free, complete episodes available)</a:t>
            </a: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i. </a:t>
            </a:r>
            <a:r>
              <a:rPr lang="de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Dynamic </a:t>
            </a:r>
            <a:r>
              <a:rPr lang="de-DE" sz="2400" dirty="0" err="1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r>
              <a:rPr lang="de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(model-</a:t>
            </a:r>
            <a:r>
              <a:rPr lang="de-DE" sz="2400" dirty="0" err="1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based</a:t>
            </a:r>
            <a:r>
              <a:rPr lang="de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)</a:t>
            </a:r>
            <a:endParaRPr lang="en-DE" sz="2400" dirty="0">
              <a:solidFill>
                <a:schemeClr val="bg1">
                  <a:lumMod val="75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DE" sz="2400" dirty="0">
                <a:solidFill>
                  <a:schemeClr val="bg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	iii. Temporal-Difference (model-free, online)</a:t>
            </a:r>
          </a:p>
        </p:txBody>
      </p:sp>
    </p:spTree>
    <p:extLst>
      <p:ext uri="{BB962C8B-B14F-4D97-AF65-F5344CB8AC3E}">
        <p14:creationId xmlns:p14="http://schemas.microsoft.com/office/powerpoint/2010/main" val="3159694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93">
            <a:extLst>
              <a:ext uri="{FF2B5EF4-FFF2-40B4-BE49-F238E27FC236}">
                <a16:creationId xmlns:a16="http://schemas.microsoft.com/office/drawing/2014/main" id="{4478A5A5-102D-2EB8-1714-ACB274935534}"/>
              </a:ext>
            </a:extLst>
          </p:cNvPr>
          <p:cNvSpPr/>
          <p:nvPr/>
        </p:nvSpPr>
        <p:spPr>
          <a:xfrm>
            <a:off x="695400" y="2803504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CEE303DD-8DD3-7389-3E88-5CDC6AD627B7}"/>
              </a:ext>
            </a:extLst>
          </p:cNvPr>
          <p:cNvSpPr txBox="1"/>
          <p:nvPr/>
        </p:nvSpPr>
        <p:spPr>
          <a:xfrm>
            <a:off x="1055795" y="165703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6" name="TextBox 391">
            <a:extLst>
              <a:ext uri="{FF2B5EF4-FFF2-40B4-BE49-F238E27FC236}">
                <a16:creationId xmlns:a16="http://schemas.microsoft.com/office/drawing/2014/main" id="{8566EFC1-7B19-68F0-D8CE-65E3F5B7D25F}"/>
              </a:ext>
            </a:extLst>
          </p:cNvPr>
          <p:cNvSpPr txBox="1"/>
          <p:nvPr/>
        </p:nvSpPr>
        <p:spPr>
          <a:xfrm>
            <a:off x="863434" y="276503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9B54A204-B0A3-B088-4C0F-FB6317E5C39E}"/>
              </a:ext>
            </a:extLst>
          </p:cNvPr>
          <p:cNvSpPr txBox="1"/>
          <p:nvPr/>
        </p:nvSpPr>
        <p:spPr>
          <a:xfrm>
            <a:off x="2003384" y="1949424"/>
            <a:ext cx="36054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 Questions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786A949C-90AB-CA38-64F3-0186A49068AB}"/>
              </a:ext>
            </a:extLst>
          </p:cNvPr>
          <p:cNvSpPr txBox="1"/>
          <p:nvPr/>
        </p:nvSpPr>
        <p:spPr>
          <a:xfrm>
            <a:off x="2003384" y="305742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</a:p>
        </p:txBody>
      </p:sp>
      <p:sp>
        <p:nvSpPr>
          <p:cNvPr id="19" name="TextBox 391">
            <a:extLst>
              <a:ext uri="{FF2B5EF4-FFF2-40B4-BE49-F238E27FC236}">
                <a16:creationId xmlns:a16="http://schemas.microsoft.com/office/drawing/2014/main" id="{3F01EEA3-781D-9CEB-ECBD-2E998FACAB71}"/>
              </a:ext>
            </a:extLst>
          </p:cNvPr>
          <p:cNvSpPr txBox="1"/>
          <p:nvPr/>
        </p:nvSpPr>
        <p:spPr>
          <a:xfrm>
            <a:off x="695400" y="3750568"/>
            <a:ext cx="76174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</a:t>
            </a: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947A029F-BFED-8B4C-4B68-AB658EB39ADF}"/>
              </a:ext>
            </a:extLst>
          </p:cNvPr>
          <p:cNvSpPr txBox="1"/>
          <p:nvPr/>
        </p:nvSpPr>
        <p:spPr>
          <a:xfrm>
            <a:off x="1993612" y="4042956"/>
            <a:ext cx="1951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</a:p>
        </p:txBody>
      </p:sp>
    </p:spTree>
    <p:extLst>
      <p:ext uri="{BB962C8B-B14F-4D97-AF65-F5344CB8AC3E}">
        <p14:creationId xmlns:p14="http://schemas.microsoft.com/office/powerpoint/2010/main" val="3914184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estion 1.2: Solving Markov Decision Process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260648"/>
            <a:ext cx="11089307" cy="346349"/>
          </a:xfrm>
        </p:spPr>
        <p:txBody>
          <a:bodyPr/>
          <a:lstStyle/>
          <a:p>
            <a:r>
              <a:rPr lang="de-DE"/>
              <a:t>AAA Workshop</a:t>
            </a:r>
          </a:p>
        </p:txBody>
      </p:sp>
      <p:sp>
        <p:nvSpPr>
          <p:cNvPr id="6" name="Rechteck 11">
            <a:extLst>
              <a:ext uri="{FF2B5EF4-FFF2-40B4-BE49-F238E27FC236}">
                <a16:creationId xmlns:a16="http://schemas.microsoft.com/office/drawing/2014/main" id="{D3D29F8E-5158-ABFF-2FE3-AC1ACD577E57}"/>
              </a:ext>
            </a:extLst>
          </p:cNvPr>
          <p:cNvSpPr/>
          <p:nvPr/>
        </p:nvSpPr>
        <p:spPr>
          <a:xfrm>
            <a:off x="9141687" y="5221492"/>
            <a:ext cx="2910665" cy="12713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7BCC28C8-C741-4EB7-A797-45CDC8ACF477}"/>
              </a:ext>
            </a:extLst>
          </p:cNvPr>
          <p:cNvSpPr>
            <a:spLocks noChangeAspect="1" noEditPoints="1"/>
          </p:cNvSpPr>
          <p:nvPr/>
        </p:nvSpPr>
        <p:spPr bwMode="auto">
          <a:xfrm rot="19734770">
            <a:off x="856073" y="2591903"/>
            <a:ext cx="2415597" cy="2414266"/>
          </a:xfrm>
          <a:custGeom>
            <a:avLst/>
            <a:gdLst>
              <a:gd name="T0" fmla="*/ 1840 w 2080"/>
              <a:gd name="T1" fmla="*/ 80 h 2080"/>
              <a:gd name="T2" fmla="*/ 1840 w 2080"/>
              <a:gd name="T3" fmla="*/ 1680 h 2080"/>
              <a:gd name="T4" fmla="*/ 1760 w 2080"/>
              <a:gd name="T5" fmla="*/ 1760 h 2080"/>
              <a:gd name="T6" fmla="*/ 1738 w 2080"/>
              <a:gd name="T7" fmla="*/ 1760 h 2080"/>
              <a:gd name="T8" fmla="*/ 1726 w 2080"/>
              <a:gd name="T9" fmla="*/ 1742 h 2080"/>
              <a:gd name="T10" fmla="*/ 880 w 2080"/>
              <a:gd name="T11" fmla="*/ 1280 h 2080"/>
              <a:gd name="T12" fmla="*/ 320 w 2080"/>
              <a:gd name="T13" fmla="*/ 1280 h 2080"/>
              <a:gd name="T14" fmla="*/ 160 w 2080"/>
              <a:gd name="T15" fmla="*/ 1120 h 2080"/>
              <a:gd name="T16" fmla="*/ 120 w 2080"/>
              <a:gd name="T17" fmla="*/ 1120 h 2080"/>
              <a:gd name="T18" fmla="*/ 0 w 2080"/>
              <a:gd name="T19" fmla="*/ 1000 h 2080"/>
              <a:gd name="T20" fmla="*/ 0 w 2080"/>
              <a:gd name="T21" fmla="*/ 760 h 2080"/>
              <a:gd name="T22" fmla="*/ 120 w 2080"/>
              <a:gd name="T23" fmla="*/ 640 h 2080"/>
              <a:gd name="T24" fmla="*/ 160 w 2080"/>
              <a:gd name="T25" fmla="*/ 640 h 2080"/>
              <a:gd name="T26" fmla="*/ 320 w 2080"/>
              <a:gd name="T27" fmla="*/ 480 h 2080"/>
              <a:gd name="T28" fmla="*/ 880 w 2080"/>
              <a:gd name="T29" fmla="*/ 480 h 2080"/>
              <a:gd name="T30" fmla="*/ 1726 w 2080"/>
              <a:gd name="T31" fmla="*/ 18 h 2080"/>
              <a:gd name="T32" fmla="*/ 1738 w 2080"/>
              <a:gd name="T33" fmla="*/ 0 h 2080"/>
              <a:gd name="T34" fmla="*/ 1760 w 2080"/>
              <a:gd name="T35" fmla="*/ 0 h 2080"/>
              <a:gd name="T36" fmla="*/ 1840 w 2080"/>
              <a:gd name="T37" fmla="*/ 80 h 2080"/>
              <a:gd name="T38" fmla="*/ 360 w 2080"/>
              <a:gd name="T39" fmla="*/ 1040 h 2080"/>
              <a:gd name="T40" fmla="*/ 360 w 2080"/>
              <a:gd name="T41" fmla="*/ 1120 h 2080"/>
              <a:gd name="T42" fmla="*/ 880 w 2080"/>
              <a:gd name="T43" fmla="*/ 1120 h 2080"/>
              <a:gd name="T44" fmla="*/ 1615 w 2080"/>
              <a:gd name="T45" fmla="*/ 1380 h 2080"/>
              <a:gd name="T46" fmla="*/ 1665 w 2080"/>
              <a:gd name="T47" fmla="*/ 1318 h 2080"/>
              <a:gd name="T48" fmla="*/ 880 w 2080"/>
              <a:gd name="T49" fmla="*/ 1040 h 2080"/>
              <a:gd name="T50" fmla="*/ 360 w 2080"/>
              <a:gd name="T51" fmla="*/ 1040 h 2080"/>
              <a:gd name="T52" fmla="*/ 1920 w 2080"/>
              <a:gd name="T53" fmla="*/ 628 h 2080"/>
              <a:gd name="T54" fmla="*/ 2080 w 2080"/>
              <a:gd name="T55" fmla="*/ 880 h 2080"/>
              <a:gd name="T56" fmla="*/ 1920 w 2080"/>
              <a:gd name="T57" fmla="*/ 1132 h 2080"/>
              <a:gd name="T58" fmla="*/ 1920 w 2080"/>
              <a:gd name="T59" fmla="*/ 628 h 2080"/>
              <a:gd name="T60" fmla="*/ 924 w 2080"/>
              <a:gd name="T61" fmla="*/ 1360 h 2080"/>
              <a:gd name="T62" fmla="*/ 886 w 2080"/>
              <a:gd name="T63" fmla="*/ 1438 h 2080"/>
              <a:gd name="T64" fmla="*/ 914 w 2080"/>
              <a:gd name="T65" fmla="*/ 1578 h 2080"/>
              <a:gd name="T66" fmla="*/ 1036 w 2080"/>
              <a:gd name="T67" fmla="*/ 1822 h 2080"/>
              <a:gd name="T68" fmla="*/ 1035 w 2080"/>
              <a:gd name="T69" fmla="*/ 2001 h 2080"/>
              <a:gd name="T70" fmla="*/ 880 w 2080"/>
              <a:gd name="T71" fmla="*/ 2080 h 2080"/>
              <a:gd name="T72" fmla="*/ 760 w 2080"/>
              <a:gd name="T73" fmla="*/ 2080 h 2080"/>
              <a:gd name="T74" fmla="*/ 640 w 2080"/>
              <a:gd name="T75" fmla="*/ 2044 h 2080"/>
              <a:gd name="T76" fmla="*/ 564 w 2080"/>
              <a:gd name="T77" fmla="*/ 1936 h 2080"/>
              <a:gd name="T78" fmla="*/ 372 w 2080"/>
              <a:gd name="T79" fmla="*/ 1518 h 2080"/>
              <a:gd name="T80" fmla="*/ 360 w 2080"/>
              <a:gd name="T81" fmla="*/ 1445 h 2080"/>
              <a:gd name="T82" fmla="*/ 360 w 2080"/>
              <a:gd name="T83" fmla="*/ 1360 h 2080"/>
              <a:gd name="T84" fmla="*/ 924 w 2080"/>
              <a:gd name="T85" fmla="*/ 136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80" h="2080">
                <a:moveTo>
                  <a:pt x="1840" y="80"/>
                </a:moveTo>
                <a:cubicBezTo>
                  <a:pt x="1840" y="1680"/>
                  <a:pt x="1840" y="1680"/>
                  <a:pt x="1840" y="1680"/>
                </a:cubicBezTo>
                <a:cubicBezTo>
                  <a:pt x="1840" y="1724"/>
                  <a:pt x="1804" y="1760"/>
                  <a:pt x="1760" y="1760"/>
                </a:cubicBezTo>
                <a:cubicBezTo>
                  <a:pt x="1738" y="1760"/>
                  <a:pt x="1738" y="1760"/>
                  <a:pt x="1738" y="1760"/>
                </a:cubicBezTo>
                <a:cubicBezTo>
                  <a:pt x="1726" y="1742"/>
                  <a:pt x="1726" y="1742"/>
                  <a:pt x="1726" y="1742"/>
                </a:cubicBezTo>
                <a:cubicBezTo>
                  <a:pt x="1542" y="1453"/>
                  <a:pt x="1222" y="1280"/>
                  <a:pt x="880" y="1280"/>
                </a:cubicBezTo>
                <a:cubicBezTo>
                  <a:pt x="320" y="1280"/>
                  <a:pt x="320" y="1280"/>
                  <a:pt x="320" y="1280"/>
                </a:cubicBezTo>
                <a:cubicBezTo>
                  <a:pt x="232" y="1280"/>
                  <a:pt x="160" y="1208"/>
                  <a:pt x="160" y="1120"/>
                </a:cubicBezTo>
                <a:cubicBezTo>
                  <a:pt x="120" y="1120"/>
                  <a:pt x="120" y="1120"/>
                  <a:pt x="120" y="1120"/>
                </a:cubicBezTo>
                <a:cubicBezTo>
                  <a:pt x="54" y="1120"/>
                  <a:pt x="0" y="1066"/>
                  <a:pt x="0" y="1000"/>
                </a:cubicBezTo>
                <a:cubicBezTo>
                  <a:pt x="0" y="760"/>
                  <a:pt x="0" y="760"/>
                  <a:pt x="0" y="760"/>
                </a:cubicBezTo>
                <a:cubicBezTo>
                  <a:pt x="0" y="694"/>
                  <a:pt x="54" y="640"/>
                  <a:pt x="120" y="640"/>
                </a:cubicBezTo>
                <a:cubicBezTo>
                  <a:pt x="160" y="640"/>
                  <a:pt x="160" y="640"/>
                  <a:pt x="160" y="640"/>
                </a:cubicBezTo>
                <a:cubicBezTo>
                  <a:pt x="160" y="552"/>
                  <a:pt x="232" y="480"/>
                  <a:pt x="320" y="480"/>
                </a:cubicBezTo>
                <a:cubicBezTo>
                  <a:pt x="880" y="480"/>
                  <a:pt x="880" y="480"/>
                  <a:pt x="880" y="480"/>
                </a:cubicBezTo>
                <a:cubicBezTo>
                  <a:pt x="1222" y="480"/>
                  <a:pt x="1542" y="307"/>
                  <a:pt x="1726" y="18"/>
                </a:cubicBezTo>
                <a:cubicBezTo>
                  <a:pt x="1738" y="0"/>
                  <a:pt x="1738" y="0"/>
                  <a:pt x="1738" y="0"/>
                </a:cubicBezTo>
                <a:cubicBezTo>
                  <a:pt x="1760" y="0"/>
                  <a:pt x="1760" y="0"/>
                  <a:pt x="1760" y="0"/>
                </a:cubicBezTo>
                <a:cubicBezTo>
                  <a:pt x="1804" y="0"/>
                  <a:pt x="1840" y="36"/>
                  <a:pt x="1840" y="80"/>
                </a:cubicBezTo>
                <a:close/>
                <a:moveTo>
                  <a:pt x="360" y="1040"/>
                </a:moveTo>
                <a:cubicBezTo>
                  <a:pt x="360" y="1120"/>
                  <a:pt x="360" y="1120"/>
                  <a:pt x="360" y="1120"/>
                </a:cubicBezTo>
                <a:cubicBezTo>
                  <a:pt x="880" y="1120"/>
                  <a:pt x="880" y="1120"/>
                  <a:pt x="880" y="1120"/>
                </a:cubicBezTo>
                <a:cubicBezTo>
                  <a:pt x="1147" y="1120"/>
                  <a:pt x="1407" y="1212"/>
                  <a:pt x="1615" y="1380"/>
                </a:cubicBezTo>
                <a:cubicBezTo>
                  <a:pt x="1665" y="1318"/>
                  <a:pt x="1665" y="1318"/>
                  <a:pt x="1665" y="1318"/>
                </a:cubicBezTo>
                <a:cubicBezTo>
                  <a:pt x="1443" y="1138"/>
                  <a:pt x="1166" y="1040"/>
                  <a:pt x="880" y="1040"/>
                </a:cubicBezTo>
                <a:lnTo>
                  <a:pt x="360" y="1040"/>
                </a:lnTo>
                <a:close/>
                <a:moveTo>
                  <a:pt x="1920" y="628"/>
                </a:moveTo>
                <a:cubicBezTo>
                  <a:pt x="2017" y="675"/>
                  <a:pt x="2080" y="772"/>
                  <a:pt x="2080" y="880"/>
                </a:cubicBezTo>
                <a:cubicBezTo>
                  <a:pt x="2080" y="988"/>
                  <a:pt x="2017" y="1086"/>
                  <a:pt x="1920" y="1132"/>
                </a:cubicBezTo>
                <a:lnTo>
                  <a:pt x="1920" y="628"/>
                </a:lnTo>
                <a:close/>
                <a:moveTo>
                  <a:pt x="924" y="1360"/>
                </a:moveTo>
                <a:cubicBezTo>
                  <a:pt x="886" y="1438"/>
                  <a:pt x="886" y="1438"/>
                  <a:pt x="886" y="1438"/>
                </a:cubicBezTo>
                <a:cubicBezTo>
                  <a:pt x="864" y="1480"/>
                  <a:pt x="881" y="1513"/>
                  <a:pt x="914" y="1578"/>
                </a:cubicBezTo>
                <a:cubicBezTo>
                  <a:pt x="1036" y="1822"/>
                  <a:pt x="1036" y="1822"/>
                  <a:pt x="1036" y="1822"/>
                </a:cubicBezTo>
                <a:cubicBezTo>
                  <a:pt x="1064" y="1879"/>
                  <a:pt x="1070" y="1945"/>
                  <a:pt x="1035" y="2001"/>
                </a:cubicBezTo>
                <a:cubicBezTo>
                  <a:pt x="1002" y="2054"/>
                  <a:pt x="942" y="2080"/>
                  <a:pt x="880" y="2080"/>
                </a:cubicBezTo>
                <a:cubicBezTo>
                  <a:pt x="760" y="2080"/>
                  <a:pt x="760" y="2080"/>
                  <a:pt x="760" y="2080"/>
                </a:cubicBezTo>
                <a:cubicBezTo>
                  <a:pt x="711" y="2080"/>
                  <a:pt x="673" y="2069"/>
                  <a:pt x="640" y="2044"/>
                </a:cubicBezTo>
                <a:cubicBezTo>
                  <a:pt x="610" y="2020"/>
                  <a:pt x="586" y="1986"/>
                  <a:pt x="564" y="1936"/>
                </a:cubicBezTo>
                <a:cubicBezTo>
                  <a:pt x="372" y="1518"/>
                  <a:pt x="372" y="1518"/>
                  <a:pt x="372" y="1518"/>
                </a:cubicBezTo>
                <a:cubicBezTo>
                  <a:pt x="360" y="1491"/>
                  <a:pt x="360" y="1470"/>
                  <a:pt x="360" y="1445"/>
                </a:cubicBezTo>
                <a:cubicBezTo>
                  <a:pt x="360" y="1360"/>
                  <a:pt x="360" y="1360"/>
                  <a:pt x="360" y="1360"/>
                </a:cubicBezTo>
                <a:lnTo>
                  <a:pt x="924" y="1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8" name="Gleichschenkliges Dreieck 5">
            <a:extLst>
              <a:ext uri="{FF2B5EF4-FFF2-40B4-BE49-F238E27FC236}">
                <a16:creationId xmlns:a16="http://schemas.microsoft.com/office/drawing/2014/main" id="{BCDF7E8E-83C3-C518-CD3D-AB80D00771B4}"/>
              </a:ext>
            </a:extLst>
          </p:cNvPr>
          <p:cNvSpPr/>
          <p:nvPr/>
        </p:nvSpPr>
        <p:spPr>
          <a:xfrm rot="16200000">
            <a:off x="3397249" y="2741605"/>
            <a:ext cx="428897" cy="393700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3E2B76-3650-D80F-9260-0717609033FB}"/>
              </a:ext>
            </a:extLst>
          </p:cNvPr>
          <p:cNvSpPr>
            <a:spLocks/>
          </p:cNvSpPr>
          <p:nvPr/>
        </p:nvSpPr>
        <p:spPr>
          <a:xfrm>
            <a:off x="4477603" y="1995173"/>
            <a:ext cx="330113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nk:Act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ll be out by the end of this month …</a:t>
            </a:r>
            <a:endParaRPr kumimoji="0" lang="de-DE" sz="2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8A7B719-143E-E148-DA46-FD1D7F01D9BB}"/>
              </a:ext>
            </a:extLst>
          </p:cNvPr>
          <p:cNvGrpSpPr/>
          <p:nvPr/>
        </p:nvGrpSpPr>
        <p:grpSpPr>
          <a:xfrm>
            <a:off x="263352" y="329523"/>
            <a:ext cx="11665296" cy="6302904"/>
            <a:chOff x="738189" y="698501"/>
            <a:chExt cx="10951618" cy="5327854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6DD30409-5D2C-6CDA-7C98-B8964AD41264}"/>
                </a:ext>
              </a:extLst>
            </p:cNvPr>
            <p:cNvSpPr/>
            <p:nvPr/>
          </p:nvSpPr>
          <p:spPr>
            <a:xfrm>
              <a:off x="738189" y="698501"/>
              <a:ext cx="3070359" cy="5327854"/>
            </a:xfrm>
            <a:prstGeom prst="rect">
              <a:avLst/>
            </a:prstGeom>
            <a:solidFill>
              <a:srgbClr val="447A93"/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D58D1E5-0D55-A2BC-2379-2ACEC227EFA7}"/>
                </a:ext>
              </a:extLst>
            </p:cNvPr>
            <p:cNvSpPr/>
            <p:nvPr/>
          </p:nvSpPr>
          <p:spPr>
            <a:xfrm>
              <a:off x="3808547" y="698501"/>
              <a:ext cx="7881260" cy="532785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3" name="Gleichschenkliges Dreieck 5">
              <a:extLst>
                <a:ext uri="{FF2B5EF4-FFF2-40B4-BE49-F238E27FC236}">
                  <a16:creationId xmlns:a16="http://schemas.microsoft.com/office/drawing/2014/main" id="{72B97C04-5397-A8D6-BA31-A0812B83CD48}"/>
                </a:ext>
              </a:extLst>
            </p:cNvPr>
            <p:cNvSpPr/>
            <p:nvPr/>
          </p:nvSpPr>
          <p:spPr>
            <a:xfrm rot="16200000">
              <a:off x="3371563" y="3298532"/>
              <a:ext cx="480269" cy="393700"/>
            </a:xfrm>
            <a:prstGeom prst="triangl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6B25D31-39F8-42E4-B8C5-CC5B1E9437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20929" y="379259"/>
                <a:ext cx="6506003" cy="21236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What is the asked (?) state value function with </a:t>
                </a:r>
                <a:r>
                  <a:rPr lang="fa-IR" sz="20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: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𝜋</m:t>
                    </m:r>
                    <m:d>
                      <m:d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</m:ctrlPr>
                      </m:d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𝑎</m:t>
                        </m:r>
                      </m:e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 Narrow" panose="020B0604020202020204" pitchFamily="34" charset="0"/>
                          </a:rPr>
                          <m:t>𝑠</m:t>
                        </m:r>
                      </m:e>
                    </m:d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0.5 </m:t>
                    </m:r>
                  </m:oMath>
                </a14:m>
                <a:r>
                  <a:rPr lang="en-US" sz="2000" b="0" i="1" dirty="0">
                    <a:latin typeface="Cambria Math" panose="02040503050406030204" pitchFamily="18" charset="0"/>
                    <a:ea typeface="Cambria Math" panose="02040503050406030204" pitchFamily="18" charset="0"/>
                    <a:cs typeface="Arial Narrow" panose="020B0604020202020204" pitchFamily="34" charset="0"/>
                  </a:rPr>
                  <a:t>for all state</a:t>
                </a:r>
                <a:r>
                  <a:rPr lang="en-US" sz="2000" i="1" dirty="0">
                    <a:latin typeface="Cambria Math" panose="02040503050406030204" pitchFamily="18" charset="0"/>
                    <a:ea typeface="Cambria Math" panose="02040503050406030204" pitchFamily="18" charset="0"/>
                    <a:cs typeface="Arial Narrow" panose="020B0604020202020204" pitchFamily="34" charset="0"/>
                  </a:rPr>
                  <a:t>s</a:t>
                </a:r>
                <a:r>
                  <a:rPr lang="en-US" sz="2000" b="0" i="1" dirty="0">
                    <a:latin typeface="Cambria Math" panose="02040503050406030204" pitchFamily="18" charset="0"/>
                    <a:ea typeface="Cambria Math" panose="02040503050406030204" pitchFamily="18" charset="0"/>
                    <a:cs typeface="Arial Narrow" panose="020B0604020202020204" pitchFamily="34" charset="0"/>
                  </a:rPr>
                  <a:t> and actions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,</m:t>
                    </m:r>
                    <m:r>
                      <a:rPr lang="fa-IR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 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 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𝛾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 Narrow" panose="020B0604020202020204" pitchFamily="34" charset="0"/>
                      </a:rPr>
                      <m:t>=1</m:t>
                    </m:r>
                  </m:oMath>
                </a14:m>
                <a:endParaRPr lang="en-US" sz="2000" dirty="0"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 algn="ctr"/>
                <a:r>
                  <a:rPr lang="en-US" sz="20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Suppose random </a:t>
                </a:r>
                <a:r>
                  <a:rPr lang="en-US" sz="2000" dirty="0" err="1">
                    <a:latin typeface="Arial Narrow" panose="020B0604020202020204" pitchFamily="34" charset="0"/>
                    <a:cs typeface="Arial Narrow" panose="020B0604020202020204" pitchFamily="34" charset="0"/>
                  </a:rPr>
                  <a:t>initlization</a:t>
                </a:r>
                <a:r>
                  <a:rPr lang="en-US" sz="20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 of (?) to be 5.0</a:t>
                </a:r>
              </a:p>
              <a:p>
                <a:pPr lvl="8" algn="ctr"/>
                <a:r>
                  <a:rPr lang="en-US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a) 6.9</a:t>
                </a:r>
              </a:p>
              <a:p>
                <a:pPr lvl="8" algn="ctr"/>
                <a:r>
                  <a:rPr lang="en-US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b) 5.8</a:t>
                </a:r>
              </a:p>
              <a:p>
                <a:pPr lvl="8" algn="ctr"/>
                <a:r>
                  <a:rPr lang="en-US" sz="2400" dirty="0">
                    <a:latin typeface="Arial Narrow" panose="020B0604020202020204" pitchFamily="34" charset="0"/>
                    <a:cs typeface="Arial Narrow" panose="020B0604020202020204" pitchFamily="34" charset="0"/>
                  </a:rPr>
                  <a:t>c) 7.4</a:t>
                </a: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6B25D31-39F8-42E4-B8C5-CC5B1E94376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0929" y="379259"/>
                <a:ext cx="6506003" cy="2123658"/>
              </a:xfrm>
              <a:prstGeom prst="rect">
                <a:avLst/>
              </a:prstGeom>
              <a:blipFill>
                <a:blip r:embed="rId2"/>
                <a:stretch>
                  <a:fillRect t="-1183" b="-5325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Freeform 14">
            <a:extLst>
              <a:ext uri="{FF2B5EF4-FFF2-40B4-BE49-F238E27FC236}">
                <a16:creationId xmlns:a16="http://schemas.microsoft.com/office/drawing/2014/main" id="{6D35CB79-314F-2B62-7DDD-E144103DC86E}"/>
              </a:ext>
            </a:extLst>
          </p:cNvPr>
          <p:cNvSpPr>
            <a:spLocks noChangeAspect="1" noEditPoints="1"/>
          </p:cNvSpPr>
          <p:nvPr/>
        </p:nvSpPr>
        <p:spPr bwMode="auto">
          <a:xfrm rot="19734770">
            <a:off x="1051867" y="2656764"/>
            <a:ext cx="1817787" cy="1816786"/>
          </a:xfrm>
          <a:custGeom>
            <a:avLst/>
            <a:gdLst>
              <a:gd name="T0" fmla="*/ 1840 w 2080"/>
              <a:gd name="T1" fmla="*/ 80 h 2080"/>
              <a:gd name="T2" fmla="*/ 1840 w 2080"/>
              <a:gd name="T3" fmla="*/ 1680 h 2080"/>
              <a:gd name="T4" fmla="*/ 1760 w 2080"/>
              <a:gd name="T5" fmla="*/ 1760 h 2080"/>
              <a:gd name="T6" fmla="*/ 1738 w 2080"/>
              <a:gd name="T7" fmla="*/ 1760 h 2080"/>
              <a:gd name="T8" fmla="*/ 1726 w 2080"/>
              <a:gd name="T9" fmla="*/ 1742 h 2080"/>
              <a:gd name="T10" fmla="*/ 880 w 2080"/>
              <a:gd name="T11" fmla="*/ 1280 h 2080"/>
              <a:gd name="T12" fmla="*/ 320 w 2080"/>
              <a:gd name="T13" fmla="*/ 1280 h 2080"/>
              <a:gd name="T14" fmla="*/ 160 w 2080"/>
              <a:gd name="T15" fmla="*/ 1120 h 2080"/>
              <a:gd name="T16" fmla="*/ 120 w 2080"/>
              <a:gd name="T17" fmla="*/ 1120 h 2080"/>
              <a:gd name="T18" fmla="*/ 0 w 2080"/>
              <a:gd name="T19" fmla="*/ 1000 h 2080"/>
              <a:gd name="T20" fmla="*/ 0 w 2080"/>
              <a:gd name="T21" fmla="*/ 760 h 2080"/>
              <a:gd name="T22" fmla="*/ 120 w 2080"/>
              <a:gd name="T23" fmla="*/ 640 h 2080"/>
              <a:gd name="T24" fmla="*/ 160 w 2080"/>
              <a:gd name="T25" fmla="*/ 640 h 2080"/>
              <a:gd name="T26" fmla="*/ 320 w 2080"/>
              <a:gd name="T27" fmla="*/ 480 h 2080"/>
              <a:gd name="T28" fmla="*/ 880 w 2080"/>
              <a:gd name="T29" fmla="*/ 480 h 2080"/>
              <a:gd name="T30" fmla="*/ 1726 w 2080"/>
              <a:gd name="T31" fmla="*/ 18 h 2080"/>
              <a:gd name="T32" fmla="*/ 1738 w 2080"/>
              <a:gd name="T33" fmla="*/ 0 h 2080"/>
              <a:gd name="T34" fmla="*/ 1760 w 2080"/>
              <a:gd name="T35" fmla="*/ 0 h 2080"/>
              <a:gd name="T36" fmla="*/ 1840 w 2080"/>
              <a:gd name="T37" fmla="*/ 80 h 2080"/>
              <a:gd name="T38" fmla="*/ 360 w 2080"/>
              <a:gd name="T39" fmla="*/ 1040 h 2080"/>
              <a:gd name="T40" fmla="*/ 360 w 2080"/>
              <a:gd name="T41" fmla="*/ 1120 h 2080"/>
              <a:gd name="T42" fmla="*/ 880 w 2080"/>
              <a:gd name="T43" fmla="*/ 1120 h 2080"/>
              <a:gd name="T44" fmla="*/ 1615 w 2080"/>
              <a:gd name="T45" fmla="*/ 1380 h 2080"/>
              <a:gd name="T46" fmla="*/ 1665 w 2080"/>
              <a:gd name="T47" fmla="*/ 1318 h 2080"/>
              <a:gd name="T48" fmla="*/ 880 w 2080"/>
              <a:gd name="T49" fmla="*/ 1040 h 2080"/>
              <a:gd name="T50" fmla="*/ 360 w 2080"/>
              <a:gd name="T51" fmla="*/ 1040 h 2080"/>
              <a:gd name="T52" fmla="*/ 1920 w 2080"/>
              <a:gd name="T53" fmla="*/ 628 h 2080"/>
              <a:gd name="T54" fmla="*/ 2080 w 2080"/>
              <a:gd name="T55" fmla="*/ 880 h 2080"/>
              <a:gd name="T56" fmla="*/ 1920 w 2080"/>
              <a:gd name="T57" fmla="*/ 1132 h 2080"/>
              <a:gd name="T58" fmla="*/ 1920 w 2080"/>
              <a:gd name="T59" fmla="*/ 628 h 2080"/>
              <a:gd name="T60" fmla="*/ 924 w 2080"/>
              <a:gd name="T61" fmla="*/ 1360 h 2080"/>
              <a:gd name="T62" fmla="*/ 886 w 2080"/>
              <a:gd name="T63" fmla="*/ 1438 h 2080"/>
              <a:gd name="T64" fmla="*/ 914 w 2080"/>
              <a:gd name="T65" fmla="*/ 1578 h 2080"/>
              <a:gd name="T66" fmla="*/ 1036 w 2080"/>
              <a:gd name="T67" fmla="*/ 1822 h 2080"/>
              <a:gd name="T68" fmla="*/ 1035 w 2080"/>
              <a:gd name="T69" fmla="*/ 2001 h 2080"/>
              <a:gd name="T70" fmla="*/ 880 w 2080"/>
              <a:gd name="T71" fmla="*/ 2080 h 2080"/>
              <a:gd name="T72" fmla="*/ 760 w 2080"/>
              <a:gd name="T73" fmla="*/ 2080 h 2080"/>
              <a:gd name="T74" fmla="*/ 640 w 2080"/>
              <a:gd name="T75" fmla="*/ 2044 h 2080"/>
              <a:gd name="T76" fmla="*/ 564 w 2080"/>
              <a:gd name="T77" fmla="*/ 1936 h 2080"/>
              <a:gd name="T78" fmla="*/ 372 w 2080"/>
              <a:gd name="T79" fmla="*/ 1518 h 2080"/>
              <a:gd name="T80" fmla="*/ 360 w 2080"/>
              <a:gd name="T81" fmla="*/ 1445 h 2080"/>
              <a:gd name="T82" fmla="*/ 360 w 2080"/>
              <a:gd name="T83" fmla="*/ 1360 h 2080"/>
              <a:gd name="T84" fmla="*/ 924 w 2080"/>
              <a:gd name="T85" fmla="*/ 136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80" h="2080">
                <a:moveTo>
                  <a:pt x="1840" y="80"/>
                </a:moveTo>
                <a:cubicBezTo>
                  <a:pt x="1840" y="1680"/>
                  <a:pt x="1840" y="1680"/>
                  <a:pt x="1840" y="1680"/>
                </a:cubicBezTo>
                <a:cubicBezTo>
                  <a:pt x="1840" y="1724"/>
                  <a:pt x="1804" y="1760"/>
                  <a:pt x="1760" y="1760"/>
                </a:cubicBezTo>
                <a:cubicBezTo>
                  <a:pt x="1738" y="1760"/>
                  <a:pt x="1738" y="1760"/>
                  <a:pt x="1738" y="1760"/>
                </a:cubicBezTo>
                <a:cubicBezTo>
                  <a:pt x="1726" y="1742"/>
                  <a:pt x="1726" y="1742"/>
                  <a:pt x="1726" y="1742"/>
                </a:cubicBezTo>
                <a:cubicBezTo>
                  <a:pt x="1542" y="1453"/>
                  <a:pt x="1222" y="1280"/>
                  <a:pt x="880" y="1280"/>
                </a:cubicBezTo>
                <a:cubicBezTo>
                  <a:pt x="320" y="1280"/>
                  <a:pt x="320" y="1280"/>
                  <a:pt x="320" y="1280"/>
                </a:cubicBezTo>
                <a:cubicBezTo>
                  <a:pt x="232" y="1280"/>
                  <a:pt x="160" y="1208"/>
                  <a:pt x="160" y="1120"/>
                </a:cubicBezTo>
                <a:cubicBezTo>
                  <a:pt x="120" y="1120"/>
                  <a:pt x="120" y="1120"/>
                  <a:pt x="120" y="1120"/>
                </a:cubicBezTo>
                <a:cubicBezTo>
                  <a:pt x="54" y="1120"/>
                  <a:pt x="0" y="1066"/>
                  <a:pt x="0" y="1000"/>
                </a:cubicBezTo>
                <a:cubicBezTo>
                  <a:pt x="0" y="760"/>
                  <a:pt x="0" y="760"/>
                  <a:pt x="0" y="760"/>
                </a:cubicBezTo>
                <a:cubicBezTo>
                  <a:pt x="0" y="694"/>
                  <a:pt x="54" y="640"/>
                  <a:pt x="120" y="640"/>
                </a:cubicBezTo>
                <a:cubicBezTo>
                  <a:pt x="160" y="640"/>
                  <a:pt x="160" y="640"/>
                  <a:pt x="160" y="640"/>
                </a:cubicBezTo>
                <a:cubicBezTo>
                  <a:pt x="160" y="552"/>
                  <a:pt x="232" y="480"/>
                  <a:pt x="320" y="480"/>
                </a:cubicBezTo>
                <a:cubicBezTo>
                  <a:pt x="880" y="480"/>
                  <a:pt x="880" y="480"/>
                  <a:pt x="880" y="480"/>
                </a:cubicBezTo>
                <a:cubicBezTo>
                  <a:pt x="1222" y="480"/>
                  <a:pt x="1542" y="307"/>
                  <a:pt x="1726" y="18"/>
                </a:cubicBezTo>
                <a:cubicBezTo>
                  <a:pt x="1738" y="0"/>
                  <a:pt x="1738" y="0"/>
                  <a:pt x="1738" y="0"/>
                </a:cubicBezTo>
                <a:cubicBezTo>
                  <a:pt x="1760" y="0"/>
                  <a:pt x="1760" y="0"/>
                  <a:pt x="1760" y="0"/>
                </a:cubicBezTo>
                <a:cubicBezTo>
                  <a:pt x="1804" y="0"/>
                  <a:pt x="1840" y="36"/>
                  <a:pt x="1840" y="80"/>
                </a:cubicBezTo>
                <a:close/>
                <a:moveTo>
                  <a:pt x="360" y="1040"/>
                </a:moveTo>
                <a:cubicBezTo>
                  <a:pt x="360" y="1120"/>
                  <a:pt x="360" y="1120"/>
                  <a:pt x="360" y="1120"/>
                </a:cubicBezTo>
                <a:cubicBezTo>
                  <a:pt x="880" y="1120"/>
                  <a:pt x="880" y="1120"/>
                  <a:pt x="880" y="1120"/>
                </a:cubicBezTo>
                <a:cubicBezTo>
                  <a:pt x="1147" y="1120"/>
                  <a:pt x="1407" y="1212"/>
                  <a:pt x="1615" y="1380"/>
                </a:cubicBezTo>
                <a:cubicBezTo>
                  <a:pt x="1665" y="1318"/>
                  <a:pt x="1665" y="1318"/>
                  <a:pt x="1665" y="1318"/>
                </a:cubicBezTo>
                <a:cubicBezTo>
                  <a:pt x="1443" y="1138"/>
                  <a:pt x="1166" y="1040"/>
                  <a:pt x="880" y="1040"/>
                </a:cubicBezTo>
                <a:lnTo>
                  <a:pt x="360" y="1040"/>
                </a:lnTo>
                <a:close/>
                <a:moveTo>
                  <a:pt x="1920" y="628"/>
                </a:moveTo>
                <a:cubicBezTo>
                  <a:pt x="2017" y="675"/>
                  <a:pt x="2080" y="772"/>
                  <a:pt x="2080" y="880"/>
                </a:cubicBezTo>
                <a:cubicBezTo>
                  <a:pt x="2080" y="988"/>
                  <a:pt x="2017" y="1086"/>
                  <a:pt x="1920" y="1132"/>
                </a:cubicBezTo>
                <a:lnTo>
                  <a:pt x="1920" y="628"/>
                </a:lnTo>
                <a:close/>
                <a:moveTo>
                  <a:pt x="924" y="1360"/>
                </a:moveTo>
                <a:cubicBezTo>
                  <a:pt x="886" y="1438"/>
                  <a:pt x="886" y="1438"/>
                  <a:pt x="886" y="1438"/>
                </a:cubicBezTo>
                <a:cubicBezTo>
                  <a:pt x="864" y="1480"/>
                  <a:pt x="881" y="1513"/>
                  <a:pt x="914" y="1578"/>
                </a:cubicBezTo>
                <a:cubicBezTo>
                  <a:pt x="1036" y="1822"/>
                  <a:pt x="1036" y="1822"/>
                  <a:pt x="1036" y="1822"/>
                </a:cubicBezTo>
                <a:cubicBezTo>
                  <a:pt x="1064" y="1879"/>
                  <a:pt x="1070" y="1945"/>
                  <a:pt x="1035" y="2001"/>
                </a:cubicBezTo>
                <a:cubicBezTo>
                  <a:pt x="1002" y="2054"/>
                  <a:pt x="942" y="2080"/>
                  <a:pt x="880" y="2080"/>
                </a:cubicBezTo>
                <a:cubicBezTo>
                  <a:pt x="760" y="2080"/>
                  <a:pt x="760" y="2080"/>
                  <a:pt x="760" y="2080"/>
                </a:cubicBezTo>
                <a:cubicBezTo>
                  <a:pt x="711" y="2080"/>
                  <a:pt x="673" y="2069"/>
                  <a:pt x="640" y="2044"/>
                </a:cubicBezTo>
                <a:cubicBezTo>
                  <a:pt x="610" y="2020"/>
                  <a:pt x="586" y="1986"/>
                  <a:pt x="564" y="1936"/>
                </a:cubicBezTo>
                <a:cubicBezTo>
                  <a:pt x="372" y="1518"/>
                  <a:pt x="372" y="1518"/>
                  <a:pt x="372" y="1518"/>
                </a:cubicBezTo>
                <a:cubicBezTo>
                  <a:pt x="360" y="1491"/>
                  <a:pt x="360" y="1470"/>
                  <a:pt x="360" y="1445"/>
                </a:cubicBezTo>
                <a:cubicBezTo>
                  <a:pt x="360" y="1360"/>
                  <a:pt x="360" y="1360"/>
                  <a:pt x="360" y="1360"/>
                </a:cubicBezTo>
                <a:lnTo>
                  <a:pt x="924" y="1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6" name="Rectangle 21">
            <a:extLst>
              <a:ext uri="{FF2B5EF4-FFF2-40B4-BE49-F238E27FC236}">
                <a16:creationId xmlns:a16="http://schemas.microsoft.com/office/drawing/2014/main" id="{32517836-52D7-EC36-FACF-56E3905587FC}"/>
              </a:ext>
            </a:extLst>
          </p:cNvPr>
          <p:cNvSpPr>
            <a:spLocks/>
          </p:cNvSpPr>
          <p:nvPr/>
        </p:nvSpPr>
        <p:spPr>
          <a:xfrm>
            <a:off x="4789453" y="1995173"/>
            <a:ext cx="46230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7D9F628-6074-26BD-97E5-010C6E801140}"/>
              </a:ext>
            </a:extLst>
          </p:cNvPr>
          <p:cNvSpPr/>
          <p:nvPr/>
        </p:nvSpPr>
        <p:spPr>
          <a:xfrm>
            <a:off x="5077485" y="2204208"/>
            <a:ext cx="855646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-2.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0C1D0A-A916-9213-983D-FAE30FC5D16B}"/>
              </a:ext>
            </a:extLst>
          </p:cNvPr>
          <p:cNvSpPr/>
          <p:nvPr/>
        </p:nvSpPr>
        <p:spPr>
          <a:xfrm>
            <a:off x="10443210" y="4122026"/>
            <a:ext cx="682947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B32DEDD-76F1-1EFC-985B-AB0D03FF7E2C}"/>
              </a:ext>
            </a:extLst>
          </p:cNvPr>
          <p:cNvSpPr/>
          <p:nvPr/>
        </p:nvSpPr>
        <p:spPr>
          <a:xfrm>
            <a:off x="7664605" y="4122026"/>
            <a:ext cx="682947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2.7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8F79DFB-B481-D53C-0DDC-6DB13B3A426D}"/>
              </a:ext>
            </a:extLst>
          </p:cNvPr>
          <p:cNvSpPr/>
          <p:nvPr/>
        </p:nvSpPr>
        <p:spPr>
          <a:xfrm>
            <a:off x="5031338" y="4111833"/>
            <a:ext cx="826963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-1.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1D761AB-5B8B-0658-8357-308C67C46FF8}"/>
              </a:ext>
            </a:extLst>
          </p:cNvPr>
          <p:cNvSpPr/>
          <p:nvPr/>
        </p:nvSpPr>
        <p:spPr>
          <a:xfrm>
            <a:off x="7685070" y="2170142"/>
            <a:ext cx="682947" cy="74406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D1E8419-B1F6-0AFA-E6BD-037338EA6178}"/>
              </a:ext>
            </a:extLst>
          </p:cNvPr>
          <p:cNvCxnSpPr>
            <a:cxnSpLocks/>
            <a:stCxn id="17" idx="4"/>
            <a:endCxn id="20" idx="0"/>
          </p:cNvCxnSpPr>
          <p:nvPr/>
        </p:nvCxnSpPr>
        <p:spPr>
          <a:xfrm flipH="1">
            <a:off x="5444820" y="2948271"/>
            <a:ext cx="60488" cy="116356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urved Connector 22">
            <a:extLst>
              <a:ext uri="{FF2B5EF4-FFF2-40B4-BE49-F238E27FC236}">
                <a16:creationId xmlns:a16="http://schemas.microsoft.com/office/drawing/2014/main" id="{F55E50E9-4A25-B91A-BFA1-0BF92A52D980}"/>
              </a:ext>
            </a:extLst>
          </p:cNvPr>
          <p:cNvCxnSpPr>
            <a:cxnSpLocks/>
            <a:stCxn id="17" idx="2"/>
            <a:endCxn id="17" idx="7"/>
          </p:cNvCxnSpPr>
          <p:nvPr/>
        </p:nvCxnSpPr>
        <p:spPr>
          <a:xfrm rot="10800000" flipH="1">
            <a:off x="5077485" y="2313174"/>
            <a:ext cx="730340" cy="263066"/>
          </a:xfrm>
          <a:prstGeom prst="curvedConnector4">
            <a:avLst>
              <a:gd name="adj1" fmla="val -31300"/>
              <a:gd name="adj2" fmla="val 22832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>
            <a:extLst>
              <a:ext uri="{FF2B5EF4-FFF2-40B4-BE49-F238E27FC236}">
                <a16:creationId xmlns:a16="http://schemas.microsoft.com/office/drawing/2014/main" id="{CC6FA7E7-E551-2DA5-D29E-5F8FD4647C41}"/>
              </a:ext>
            </a:extLst>
          </p:cNvPr>
          <p:cNvCxnSpPr>
            <a:cxnSpLocks/>
            <a:stCxn id="17" idx="2"/>
            <a:endCxn id="20" idx="2"/>
          </p:cNvCxnSpPr>
          <p:nvPr/>
        </p:nvCxnSpPr>
        <p:spPr>
          <a:xfrm rot="10800000" flipV="1">
            <a:off x="5031339" y="2576239"/>
            <a:ext cx="46147" cy="1907625"/>
          </a:xfrm>
          <a:prstGeom prst="curvedConnector3">
            <a:avLst>
              <a:gd name="adj1" fmla="val 595373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2E0D453-BA2C-A11F-8634-15FF16AA0029}"/>
              </a:ext>
            </a:extLst>
          </p:cNvPr>
          <p:cNvCxnSpPr>
            <a:cxnSpLocks/>
            <a:stCxn id="20" idx="6"/>
            <a:endCxn id="19" idx="2"/>
          </p:cNvCxnSpPr>
          <p:nvPr/>
        </p:nvCxnSpPr>
        <p:spPr>
          <a:xfrm>
            <a:off x="5858301" y="4483865"/>
            <a:ext cx="1806304" cy="1019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FEA9B41-124D-EF62-1454-FEA4EB80BAA1}"/>
              </a:ext>
            </a:extLst>
          </p:cNvPr>
          <p:cNvCxnSpPr>
            <a:cxnSpLocks/>
            <a:stCxn id="19" idx="6"/>
            <a:endCxn id="18" idx="2"/>
          </p:cNvCxnSpPr>
          <p:nvPr/>
        </p:nvCxnSpPr>
        <p:spPr>
          <a:xfrm>
            <a:off x="8347552" y="4494058"/>
            <a:ext cx="2095658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10558FA-AFCD-2B42-6EDE-4C9C3E6D5F94}"/>
              </a:ext>
            </a:extLst>
          </p:cNvPr>
          <p:cNvCxnSpPr>
            <a:cxnSpLocks/>
            <a:stCxn id="19" idx="0"/>
            <a:endCxn id="21" idx="2"/>
          </p:cNvCxnSpPr>
          <p:nvPr/>
        </p:nvCxnSpPr>
        <p:spPr>
          <a:xfrm flipV="1">
            <a:off x="8006079" y="2914205"/>
            <a:ext cx="20465" cy="120782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urved Connector 27">
            <a:extLst>
              <a:ext uri="{FF2B5EF4-FFF2-40B4-BE49-F238E27FC236}">
                <a16:creationId xmlns:a16="http://schemas.microsoft.com/office/drawing/2014/main" id="{1C760071-CCB1-9559-4C0E-680C95CD22AE}"/>
              </a:ext>
            </a:extLst>
          </p:cNvPr>
          <p:cNvCxnSpPr>
            <a:cxnSpLocks/>
            <a:stCxn id="18" idx="0"/>
            <a:endCxn id="21" idx="3"/>
          </p:cNvCxnSpPr>
          <p:nvPr/>
        </p:nvCxnSpPr>
        <p:spPr>
          <a:xfrm rot="16200000" flipV="1">
            <a:off x="8786425" y="2123766"/>
            <a:ext cx="1579852" cy="2416667"/>
          </a:xfrm>
          <a:prstGeom prst="curved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4F4850E4-D002-D6EF-590E-B7117AA5FEFA}"/>
              </a:ext>
            </a:extLst>
          </p:cNvPr>
          <p:cNvSpPr/>
          <p:nvPr/>
        </p:nvSpPr>
        <p:spPr>
          <a:xfrm>
            <a:off x="7923242" y="5914755"/>
            <a:ext cx="165672" cy="15141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7B6D3A4-E994-DC86-E9AB-D933379E7854}"/>
              </a:ext>
            </a:extLst>
          </p:cNvPr>
          <p:cNvCxnSpPr>
            <a:cxnSpLocks/>
            <a:stCxn id="18" idx="3"/>
            <a:endCxn id="29" idx="6"/>
          </p:cNvCxnSpPr>
          <p:nvPr/>
        </p:nvCxnSpPr>
        <p:spPr>
          <a:xfrm flipH="1">
            <a:off x="8088914" y="4757123"/>
            <a:ext cx="2454311" cy="123334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26BAF57-D428-B0F9-511F-E00A04428ACD}"/>
              </a:ext>
            </a:extLst>
          </p:cNvPr>
          <p:cNvCxnSpPr>
            <a:cxnSpLocks/>
            <a:stCxn id="29" idx="0"/>
            <a:endCxn id="19" idx="4"/>
          </p:cNvCxnSpPr>
          <p:nvPr/>
        </p:nvCxnSpPr>
        <p:spPr>
          <a:xfrm flipV="1">
            <a:off x="8006078" y="4866089"/>
            <a:ext cx="1" cy="104866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2F3A3BB3-71F0-4D5A-35B9-E00CD9E51677}"/>
              </a:ext>
            </a:extLst>
          </p:cNvPr>
          <p:cNvCxnSpPr>
            <a:cxnSpLocks/>
            <a:stCxn id="29" idx="4"/>
            <a:endCxn id="18" idx="4"/>
          </p:cNvCxnSpPr>
          <p:nvPr/>
        </p:nvCxnSpPr>
        <p:spPr>
          <a:xfrm rot="5400000" flipH="1" flipV="1">
            <a:off x="8795339" y="4076828"/>
            <a:ext cx="1200084" cy="2778606"/>
          </a:xfrm>
          <a:prstGeom prst="curvedConnector3">
            <a:avLst>
              <a:gd name="adj1" fmla="val -19049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>
            <a:extLst>
              <a:ext uri="{FF2B5EF4-FFF2-40B4-BE49-F238E27FC236}">
                <a16:creationId xmlns:a16="http://schemas.microsoft.com/office/drawing/2014/main" id="{7EC9F7E8-FDA1-F71F-60E3-7B1160D23034}"/>
              </a:ext>
            </a:extLst>
          </p:cNvPr>
          <p:cNvCxnSpPr>
            <a:cxnSpLocks/>
            <a:stCxn id="29" idx="3"/>
            <a:endCxn id="20" idx="4"/>
          </p:cNvCxnSpPr>
          <p:nvPr/>
        </p:nvCxnSpPr>
        <p:spPr>
          <a:xfrm rot="5400000" flipH="1">
            <a:off x="6102111" y="4198605"/>
            <a:ext cx="1188102" cy="2502684"/>
          </a:xfrm>
          <a:prstGeom prst="curvedConnector3">
            <a:avLst>
              <a:gd name="adj1" fmla="val -24186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48D04F19-CF65-EA35-300E-579BAE056169}"/>
              </a:ext>
            </a:extLst>
          </p:cNvPr>
          <p:cNvSpPr txBox="1"/>
          <p:nvPr/>
        </p:nvSpPr>
        <p:spPr>
          <a:xfrm>
            <a:off x="4431434" y="1478998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cebook</a:t>
            </a:r>
          </a:p>
          <a:p>
            <a:r>
              <a:rPr lang="en-US" dirty="0"/>
              <a:t>R = -1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29A1A4D-6143-4BA4-FC6F-9FEC16549AE2}"/>
              </a:ext>
            </a:extLst>
          </p:cNvPr>
          <p:cNvSpPr txBox="1"/>
          <p:nvPr/>
        </p:nvSpPr>
        <p:spPr>
          <a:xfrm>
            <a:off x="4022943" y="2883721"/>
            <a:ext cx="717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it</a:t>
            </a:r>
          </a:p>
          <a:p>
            <a:r>
              <a:rPr lang="en-US" dirty="0"/>
              <a:t>R = 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1B50B9E-A242-EDD8-B5C5-AB0AD5BCD31D}"/>
              </a:ext>
            </a:extLst>
          </p:cNvPr>
          <p:cNvSpPr txBox="1"/>
          <p:nvPr/>
        </p:nvSpPr>
        <p:spPr>
          <a:xfrm>
            <a:off x="5567467" y="3172105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cebook</a:t>
            </a:r>
          </a:p>
          <a:p>
            <a:r>
              <a:rPr lang="en-US" dirty="0"/>
              <a:t>R = -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06AF26B-84F9-496E-D24C-E099567412AB}"/>
              </a:ext>
            </a:extLst>
          </p:cNvPr>
          <p:cNvSpPr txBox="1"/>
          <p:nvPr/>
        </p:nvSpPr>
        <p:spPr>
          <a:xfrm>
            <a:off x="6157605" y="4508016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-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47565B-735D-A9FA-21EB-037B0EBC3EC5}"/>
              </a:ext>
            </a:extLst>
          </p:cNvPr>
          <p:cNvSpPr txBox="1"/>
          <p:nvPr/>
        </p:nvSpPr>
        <p:spPr>
          <a:xfrm>
            <a:off x="8709491" y="3854635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-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F47A849-CB37-8A7B-AF2E-C29F0DDDB73D}"/>
              </a:ext>
            </a:extLst>
          </p:cNvPr>
          <p:cNvSpPr txBox="1"/>
          <p:nvPr/>
        </p:nvSpPr>
        <p:spPr>
          <a:xfrm>
            <a:off x="7077860" y="3091469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eep</a:t>
            </a:r>
          </a:p>
          <a:p>
            <a:r>
              <a:rPr lang="en-US" dirty="0"/>
              <a:t>R = 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9323A7B-F449-D6CA-3430-A2C553B75E2C}"/>
              </a:ext>
            </a:extLst>
          </p:cNvPr>
          <p:cNvSpPr/>
          <p:nvPr/>
        </p:nvSpPr>
        <p:spPr>
          <a:xfrm>
            <a:off x="10229715" y="2542173"/>
            <a:ext cx="8662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10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1F65102-3F44-79E8-6113-6A89F733CD19}"/>
              </a:ext>
            </a:extLst>
          </p:cNvPr>
          <p:cNvSpPr txBox="1"/>
          <p:nvPr/>
        </p:nvSpPr>
        <p:spPr>
          <a:xfrm>
            <a:off x="8725858" y="4727462"/>
            <a:ext cx="654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ub</a:t>
            </a:r>
          </a:p>
          <a:p>
            <a:r>
              <a:rPr lang="en-US" dirty="0"/>
              <a:t>R = 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8CFF40C-2F6C-BA63-2B9F-7139448EF7B9}"/>
              </a:ext>
            </a:extLst>
          </p:cNvPr>
          <p:cNvSpPr txBox="1"/>
          <p:nvPr/>
        </p:nvSpPr>
        <p:spPr>
          <a:xfrm>
            <a:off x="7488254" y="5238121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520B0D7-53FC-1F06-AC15-E49AB66AD8D4}"/>
              </a:ext>
            </a:extLst>
          </p:cNvPr>
          <p:cNvSpPr txBox="1"/>
          <p:nvPr/>
        </p:nvSpPr>
        <p:spPr>
          <a:xfrm>
            <a:off x="9510850" y="6297375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803739-D427-296E-ED07-17844CB18DAE}"/>
              </a:ext>
            </a:extLst>
          </p:cNvPr>
          <p:cNvSpPr txBox="1"/>
          <p:nvPr/>
        </p:nvSpPr>
        <p:spPr>
          <a:xfrm>
            <a:off x="6694162" y="5859332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2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8E88CF70-9136-C9E3-7966-F2BBB6A9EF12}"/>
              </a:ext>
            </a:extLst>
          </p:cNvPr>
          <p:cNvSpPr txBox="1">
            <a:spLocks/>
          </p:cNvSpPr>
          <p:nvPr/>
        </p:nvSpPr>
        <p:spPr>
          <a:xfrm>
            <a:off x="7621516" y="624731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4FFAFC3-103A-F94C-BA74-9AD3302E0953}" type="slidenum">
              <a:rPr lang="en-US" smtClean="0"/>
              <a:pPr/>
              <a:t>8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879E490-95B0-F261-CBF4-4EA1BF3600F7}"/>
                  </a:ext>
                </a:extLst>
              </p:cNvPr>
              <p:cNvSpPr txBox="1"/>
              <p:nvPr/>
            </p:nvSpPr>
            <p:spPr>
              <a:xfrm>
                <a:off x="355647" y="5306885"/>
                <a:ext cx="4588509" cy="107196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</m:e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b="0" dirty="0">
                  <a:ea typeface="Cambria Math" panose="02040503050406030204" pitchFamily="18" charset="0"/>
                </a:endParaRPr>
              </a:p>
              <a:p>
                <a:pPr marL="0" indent="0">
                  <a:lnSpc>
                    <a:spcPct val="1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</m:sub>
                            <m:sup/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[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]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en-DE" dirty="0"/>
              </a:p>
            </p:txBody>
          </p:sp>
        </mc:Choice>
        <mc:Fallback xmlns="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879E490-95B0-F261-CBF4-4EA1BF3600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47" y="5306885"/>
                <a:ext cx="4588509" cy="1071960"/>
              </a:xfrm>
              <a:prstGeom prst="rect">
                <a:avLst/>
              </a:prstGeom>
              <a:blipFill>
                <a:blip r:embed="rId3"/>
                <a:stretch>
                  <a:fillRect l="-9366" t="-62353" b="-11882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195177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66D601-C8B3-96EC-7D4C-5B0D9BA63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361E94F5-690E-055E-82A3-3F5E2EA4B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9" name="Rechteck 11">
            <a:extLst>
              <a:ext uri="{FF2B5EF4-FFF2-40B4-BE49-F238E27FC236}">
                <a16:creationId xmlns:a16="http://schemas.microsoft.com/office/drawing/2014/main" id="{1657BA1E-8B4B-227E-FC76-F08C8910C55B}"/>
              </a:ext>
            </a:extLst>
          </p:cNvPr>
          <p:cNvSpPr/>
          <p:nvPr/>
        </p:nvSpPr>
        <p:spPr>
          <a:xfrm>
            <a:off x="9141687" y="5221492"/>
            <a:ext cx="2910665" cy="12713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4CA94527-4D7F-B541-CED7-B50747C2481A}"/>
              </a:ext>
            </a:extLst>
          </p:cNvPr>
          <p:cNvSpPr>
            <a:spLocks noChangeAspect="1" noEditPoints="1"/>
          </p:cNvSpPr>
          <p:nvPr/>
        </p:nvSpPr>
        <p:spPr bwMode="auto">
          <a:xfrm rot="19734770">
            <a:off x="856073" y="2591903"/>
            <a:ext cx="2415597" cy="2414266"/>
          </a:xfrm>
          <a:custGeom>
            <a:avLst/>
            <a:gdLst>
              <a:gd name="T0" fmla="*/ 1840 w 2080"/>
              <a:gd name="T1" fmla="*/ 80 h 2080"/>
              <a:gd name="T2" fmla="*/ 1840 w 2080"/>
              <a:gd name="T3" fmla="*/ 1680 h 2080"/>
              <a:gd name="T4" fmla="*/ 1760 w 2080"/>
              <a:gd name="T5" fmla="*/ 1760 h 2080"/>
              <a:gd name="T6" fmla="*/ 1738 w 2080"/>
              <a:gd name="T7" fmla="*/ 1760 h 2080"/>
              <a:gd name="T8" fmla="*/ 1726 w 2080"/>
              <a:gd name="T9" fmla="*/ 1742 h 2080"/>
              <a:gd name="T10" fmla="*/ 880 w 2080"/>
              <a:gd name="T11" fmla="*/ 1280 h 2080"/>
              <a:gd name="T12" fmla="*/ 320 w 2080"/>
              <a:gd name="T13" fmla="*/ 1280 h 2080"/>
              <a:gd name="T14" fmla="*/ 160 w 2080"/>
              <a:gd name="T15" fmla="*/ 1120 h 2080"/>
              <a:gd name="T16" fmla="*/ 120 w 2080"/>
              <a:gd name="T17" fmla="*/ 1120 h 2080"/>
              <a:gd name="T18" fmla="*/ 0 w 2080"/>
              <a:gd name="T19" fmla="*/ 1000 h 2080"/>
              <a:gd name="T20" fmla="*/ 0 w 2080"/>
              <a:gd name="T21" fmla="*/ 760 h 2080"/>
              <a:gd name="T22" fmla="*/ 120 w 2080"/>
              <a:gd name="T23" fmla="*/ 640 h 2080"/>
              <a:gd name="T24" fmla="*/ 160 w 2080"/>
              <a:gd name="T25" fmla="*/ 640 h 2080"/>
              <a:gd name="T26" fmla="*/ 320 w 2080"/>
              <a:gd name="T27" fmla="*/ 480 h 2080"/>
              <a:gd name="T28" fmla="*/ 880 w 2080"/>
              <a:gd name="T29" fmla="*/ 480 h 2080"/>
              <a:gd name="T30" fmla="*/ 1726 w 2080"/>
              <a:gd name="T31" fmla="*/ 18 h 2080"/>
              <a:gd name="T32" fmla="*/ 1738 w 2080"/>
              <a:gd name="T33" fmla="*/ 0 h 2080"/>
              <a:gd name="T34" fmla="*/ 1760 w 2080"/>
              <a:gd name="T35" fmla="*/ 0 h 2080"/>
              <a:gd name="T36" fmla="*/ 1840 w 2080"/>
              <a:gd name="T37" fmla="*/ 80 h 2080"/>
              <a:gd name="T38" fmla="*/ 360 w 2080"/>
              <a:gd name="T39" fmla="*/ 1040 h 2080"/>
              <a:gd name="T40" fmla="*/ 360 w 2080"/>
              <a:gd name="T41" fmla="*/ 1120 h 2080"/>
              <a:gd name="T42" fmla="*/ 880 w 2080"/>
              <a:gd name="T43" fmla="*/ 1120 h 2080"/>
              <a:gd name="T44" fmla="*/ 1615 w 2080"/>
              <a:gd name="T45" fmla="*/ 1380 h 2080"/>
              <a:gd name="T46" fmla="*/ 1665 w 2080"/>
              <a:gd name="T47" fmla="*/ 1318 h 2080"/>
              <a:gd name="T48" fmla="*/ 880 w 2080"/>
              <a:gd name="T49" fmla="*/ 1040 h 2080"/>
              <a:gd name="T50" fmla="*/ 360 w 2080"/>
              <a:gd name="T51" fmla="*/ 1040 h 2080"/>
              <a:gd name="T52" fmla="*/ 1920 w 2080"/>
              <a:gd name="T53" fmla="*/ 628 h 2080"/>
              <a:gd name="T54" fmla="*/ 2080 w 2080"/>
              <a:gd name="T55" fmla="*/ 880 h 2080"/>
              <a:gd name="T56" fmla="*/ 1920 w 2080"/>
              <a:gd name="T57" fmla="*/ 1132 h 2080"/>
              <a:gd name="T58" fmla="*/ 1920 w 2080"/>
              <a:gd name="T59" fmla="*/ 628 h 2080"/>
              <a:gd name="T60" fmla="*/ 924 w 2080"/>
              <a:gd name="T61" fmla="*/ 1360 h 2080"/>
              <a:gd name="T62" fmla="*/ 886 w 2080"/>
              <a:gd name="T63" fmla="*/ 1438 h 2080"/>
              <a:gd name="T64" fmla="*/ 914 w 2080"/>
              <a:gd name="T65" fmla="*/ 1578 h 2080"/>
              <a:gd name="T66" fmla="*/ 1036 w 2080"/>
              <a:gd name="T67" fmla="*/ 1822 h 2080"/>
              <a:gd name="T68" fmla="*/ 1035 w 2080"/>
              <a:gd name="T69" fmla="*/ 2001 h 2080"/>
              <a:gd name="T70" fmla="*/ 880 w 2080"/>
              <a:gd name="T71" fmla="*/ 2080 h 2080"/>
              <a:gd name="T72" fmla="*/ 760 w 2080"/>
              <a:gd name="T73" fmla="*/ 2080 h 2080"/>
              <a:gd name="T74" fmla="*/ 640 w 2080"/>
              <a:gd name="T75" fmla="*/ 2044 h 2080"/>
              <a:gd name="T76" fmla="*/ 564 w 2080"/>
              <a:gd name="T77" fmla="*/ 1936 h 2080"/>
              <a:gd name="T78" fmla="*/ 372 w 2080"/>
              <a:gd name="T79" fmla="*/ 1518 h 2080"/>
              <a:gd name="T80" fmla="*/ 360 w 2080"/>
              <a:gd name="T81" fmla="*/ 1445 h 2080"/>
              <a:gd name="T82" fmla="*/ 360 w 2080"/>
              <a:gd name="T83" fmla="*/ 1360 h 2080"/>
              <a:gd name="T84" fmla="*/ 924 w 2080"/>
              <a:gd name="T85" fmla="*/ 136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80" h="2080">
                <a:moveTo>
                  <a:pt x="1840" y="80"/>
                </a:moveTo>
                <a:cubicBezTo>
                  <a:pt x="1840" y="1680"/>
                  <a:pt x="1840" y="1680"/>
                  <a:pt x="1840" y="1680"/>
                </a:cubicBezTo>
                <a:cubicBezTo>
                  <a:pt x="1840" y="1724"/>
                  <a:pt x="1804" y="1760"/>
                  <a:pt x="1760" y="1760"/>
                </a:cubicBezTo>
                <a:cubicBezTo>
                  <a:pt x="1738" y="1760"/>
                  <a:pt x="1738" y="1760"/>
                  <a:pt x="1738" y="1760"/>
                </a:cubicBezTo>
                <a:cubicBezTo>
                  <a:pt x="1726" y="1742"/>
                  <a:pt x="1726" y="1742"/>
                  <a:pt x="1726" y="1742"/>
                </a:cubicBezTo>
                <a:cubicBezTo>
                  <a:pt x="1542" y="1453"/>
                  <a:pt x="1222" y="1280"/>
                  <a:pt x="880" y="1280"/>
                </a:cubicBezTo>
                <a:cubicBezTo>
                  <a:pt x="320" y="1280"/>
                  <a:pt x="320" y="1280"/>
                  <a:pt x="320" y="1280"/>
                </a:cubicBezTo>
                <a:cubicBezTo>
                  <a:pt x="232" y="1280"/>
                  <a:pt x="160" y="1208"/>
                  <a:pt x="160" y="1120"/>
                </a:cubicBezTo>
                <a:cubicBezTo>
                  <a:pt x="120" y="1120"/>
                  <a:pt x="120" y="1120"/>
                  <a:pt x="120" y="1120"/>
                </a:cubicBezTo>
                <a:cubicBezTo>
                  <a:pt x="54" y="1120"/>
                  <a:pt x="0" y="1066"/>
                  <a:pt x="0" y="1000"/>
                </a:cubicBezTo>
                <a:cubicBezTo>
                  <a:pt x="0" y="760"/>
                  <a:pt x="0" y="760"/>
                  <a:pt x="0" y="760"/>
                </a:cubicBezTo>
                <a:cubicBezTo>
                  <a:pt x="0" y="694"/>
                  <a:pt x="54" y="640"/>
                  <a:pt x="120" y="640"/>
                </a:cubicBezTo>
                <a:cubicBezTo>
                  <a:pt x="160" y="640"/>
                  <a:pt x="160" y="640"/>
                  <a:pt x="160" y="640"/>
                </a:cubicBezTo>
                <a:cubicBezTo>
                  <a:pt x="160" y="552"/>
                  <a:pt x="232" y="480"/>
                  <a:pt x="320" y="480"/>
                </a:cubicBezTo>
                <a:cubicBezTo>
                  <a:pt x="880" y="480"/>
                  <a:pt x="880" y="480"/>
                  <a:pt x="880" y="480"/>
                </a:cubicBezTo>
                <a:cubicBezTo>
                  <a:pt x="1222" y="480"/>
                  <a:pt x="1542" y="307"/>
                  <a:pt x="1726" y="18"/>
                </a:cubicBezTo>
                <a:cubicBezTo>
                  <a:pt x="1738" y="0"/>
                  <a:pt x="1738" y="0"/>
                  <a:pt x="1738" y="0"/>
                </a:cubicBezTo>
                <a:cubicBezTo>
                  <a:pt x="1760" y="0"/>
                  <a:pt x="1760" y="0"/>
                  <a:pt x="1760" y="0"/>
                </a:cubicBezTo>
                <a:cubicBezTo>
                  <a:pt x="1804" y="0"/>
                  <a:pt x="1840" y="36"/>
                  <a:pt x="1840" y="80"/>
                </a:cubicBezTo>
                <a:close/>
                <a:moveTo>
                  <a:pt x="360" y="1040"/>
                </a:moveTo>
                <a:cubicBezTo>
                  <a:pt x="360" y="1120"/>
                  <a:pt x="360" y="1120"/>
                  <a:pt x="360" y="1120"/>
                </a:cubicBezTo>
                <a:cubicBezTo>
                  <a:pt x="880" y="1120"/>
                  <a:pt x="880" y="1120"/>
                  <a:pt x="880" y="1120"/>
                </a:cubicBezTo>
                <a:cubicBezTo>
                  <a:pt x="1147" y="1120"/>
                  <a:pt x="1407" y="1212"/>
                  <a:pt x="1615" y="1380"/>
                </a:cubicBezTo>
                <a:cubicBezTo>
                  <a:pt x="1665" y="1318"/>
                  <a:pt x="1665" y="1318"/>
                  <a:pt x="1665" y="1318"/>
                </a:cubicBezTo>
                <a:cubicBezTo>
                  <a:pt x="1443" y="1138"/>
                  <a:pt x="1166" y="1040"/>
                  <a:pt x="880" y="1040"/>
                </a:cubicBezTo>
                <a:lnTo>
                  <a:pt x="360" y="1040"/>
                </a:lnTo>
                <a:close/>
                <a:moveTo>
                  <a:pt x="1920" y="628"/>
                </a:moveTo>
                <a:cubicBezTo>
                  <a:pt x="2017" y="675"/>
                  <a:pt x="2080" y="772"/>
                  <a:pt x="2080" y="880"/>
                </a:cubicBezTo>
                <a:cubicBezTo>
                  <a:pt x="2080" y="988"/>
                  <a:pt x="2017" y="1086"/>
                  <a:pt x="1920" y="1132"/>
                </a:cubicBezTo>
                <a:lnTo>
                  <a:pt x="1920" y="628"/>
                </a:lnTo>
                <a:close/>
                <a:moveTo>
                  <a:pt x="924" y="1360"/>
                </a:moveTo>
                <a:cubicBezTo>
                  <a:pt x="886" y="1438"/>
                  <a:pt x="886" y="1438"/>
                  <a:pt x="886" y="1438"/>
                </a:cubicBezTo>
                <a:cubicBezTo>
                  <a:pt x="864" y="1480"/>
                  <a:pt x="881" y="1513"/>
                  <a:pt x="914" y="1578"/>
                </a:cubicBezTo>
                <a:cubicBezTo>
                  <a:pt x="1036" y="1822"/>
                  <a:pt x="1036" y="1822"/>
                  <a:pt x="1036" y="1822"/>
                </a:cubicBezTo>
                <a:cubicBezTo>
                  <a:pt x="1064" y="1879"/>
                  <a:pt x="1070" y="1945"/>
                  <a:pt x="1035" y="2001"/>
                </a:cubicBezTo>
                <a:cubicBezTo>
                  <a:pt x="1002" y="2054"/>
                  <a:pt x="942" y="2080"/>
                  <a:pt x="880" y="2080"/>
                </a:cubicBezTo>
                <a:cubicBezTo>
                  <a:pt x="760" y="2080"/>
                  <a:pt x="760" y="2080"/>
                  <a:pt x="760" y="2080"/>
                </a:cubicBezTo>
                <a:cubicBezTo>
                  <a:pt x="711" y="2080"/>
                  <a:pt x="673" y="2069"/>
                  <a:pt x="640" y="2044"/>
                </a:cubicBezTo>
                <a:cubicBezTo>
                  <a:pt x="610" y="2020"/>
                  <a:pt x="586" y="1986"/>
                  <a:pt x="564" y="1936"/>
                </a:cubicBezTo>
                <a:cubicBezTo>
                  <a:pt x="372" y="1518"/>
                  <a:pt x="372" y="1518"/>
                  <a:pt x="372" y="1518"/>
                </a:cubicBezTo>
                <a:cubicBezTo>
                  <a:pt x="360" y="1491"/>
                  <a:pt x="360" y="1470"/>
                  <a:pt x="360" y="1445"/>
                </a:cubicBezTo>
                <a:cubicBezTo>
                  <a:pt x="360" y="1360"/>
                  <a:pt x="360" y="1360"/>
                  <a:pt x="360" y="1360"/>
                </a:cubicBezTo>
                <a:lnTo>
                  <a:pt x="924" y="1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1" name="Gleichschenkliges Dreieck 5">
            <a:extLst>
              <a:ext uri="{FF2B5EF4-FFF2-40B4-BE49-F238E27FC236}">
                <a16:creationId xmlns:a16="http://schemas.microsoft.com/office/drawing/2014/main" id="{16413152-6136-1C09-C90A-5F3790BB8682}"/>
              </a:ext>
            </a:extLst>
          </p:cNvPr>
          <p:cNvSpPr/>
          <p:nvPr/>
        </p:nvSpPr>
        <p:spPr>
          <a:xfrm rot="16200000">
            <a:off x="3397249" y="2741605"/>
            <a:ext cx="428897" cy="393700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420DE9D-2B82-F557-03A4-0B2881830731}"/>
              </a:ext>
            </a:extLst>
          </p:cNvPr>
          <p:cNvSpPr>
            <a:spLocks/>
          </p:cNvSpPr>
          <p:nvPr/>
        </p:nvSpPr>
        <p:spPr>
          <a:xfrm>
            <a:off x="4318412" y="1856943"/>
            <a:ext cx="330113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nk:Act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ll be out by the end of this month …</a:t>
            </a:r>
            <a:endParaRPr kumimoji="0" lang="de-DE" sz="2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9B8AECE-FD58-2CA2-ED88-7CB439FED874}"/>
              </a:ext>
            </a:extLst>
          </p:cNvPr>
          <p:cNvGrpSpPr/>
          <p:nvPr/>
        </p:nvGrpSpPr>
        <p:grpSpPr>
          <a:xfrm>
            <a:off x="139648" y="294448"/>
            <a:ext cx="11789000" cy="6302904"/>
            <a:chOff x="910969" y="698501"/>
            <a:chExt cx="10778838" cy="5327855"/>
          </a:xfrm>
        </p:grpSpPr>
        <p:sp>
          <p:nvSpPr>
            <p:cNvPr id="54" name="Rechteck 3">
              <a:extLst>
                <a:ext uri="{FF2B5EF4-FFF2-40B4-BE49-F238E27FC236}">
                  <a16:creationId xmlns:a16="http://schemas.microsoft.com/office/drawing/2014/main" id="{6C4F4511-5340-88DD-3311-C3C6B52431C4}"/>
                </a:ext>
              </a:extLst>
            </p:cNvPr>
            <p:cNvSpPr/>
            <p:nvPr/>
          </p:nvSpPr>
          <p:spPr>
            <a:xfrm>
              <a:off x="910969" y="698501"/>
              <a:ext cx="2897579" cy="5327854"/>
            </a:xfrm>
            <a:prstGeom prst="rect">
              <a:avLst/>
            </a:prstGeom>
            <a:solidFill>
              <a:srgbClr val="447A93"/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55" name="Rechteck 11">
              <a:extLst>
                <a:ext uri="{FF2B5EF4-FFF2-40B4-BE49-F238E27FC236}">
                  <a16:creationId xmlns:a16="http://schemas.microsoft.com/office/drawing/2014/main" id="{B6108630-640D-5D5E-3DC6-34312CABA4A5}"/>
                </a:ext>
              </a:extLst>
            </p:cNvPr>
            <p:cNvSpPr/>
            <p:nvPr/>
          </p:nvSpPr>
          <p:spPr>
            <a:xfrm>
              <a:off x="3808547" y="698502"/>
              <a:ext cx="7881260" cy="532785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56" name="Gleichschenkliges Dreieck 5">
              <a:extLst>
                <a:ext uri="{FF2B5EF4-FFF2-40B4-BE49-F238E27FC236}">
                  <a16:creationId xmlns:a16="http://schemas.microsoft.com/office/drawing/2014/main" id="{327E430B-DD8A-60F0-2BA1-226777C133B4}"/>
                </a:ext>
              </a:extLst>
            </p:cNvPr>
            <p:cNvSpPr/>
            <p:nvPr/>
          </p:nvSpPr>
          <p:spPr>
            <a:xfrm rot="16200000">
              <a:off x="3371563" y="3298532"/>
              <a:ext cx="480269" cy="393700"/>
            </a:xfrm>
            <a:prstGeom prst="triangl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40C89856-D7C2-B5B9-95B7-B98AE4EF6A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20929" y="632882"/>
                <a:ext cx="6800110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  <m:t>𝑉</m:t>
                          </m:r>
                        </m:e>
                        <m:sub>
                          <m:r>
                            <a:rPr lang="en-US" sz="2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𝜋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Arial Narrow" panose="020B0604020202020204" pitchFamily="34" charset="0"/>
                        </a:rPr>
                        <m:t>=0.5∗</m:t>
                      </m:r>
                      <m:d>
                        <m:dPr>
                          <m:ctrlPr>
                            <a:rPr lang="en-US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dPr>
                        <m:e>
                          <m:r>
                            <a:rPr lang="en-US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  <m:t>1+0.2∗−1.3+0.4∗2.7+0.4∗</m:t>
                          </m:r>
                          <m:r>
                            <a:rPr lang="de-DE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  <m:t>5.0</m:t>
                          </m:r>
                        </m:e>
                      </m:d>
                      <m:r>
                        <a:rPr lang="en-US" sz="2000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+</m:t>
                      </m:r>
                      <m:r>
                        <a:rPr lang="en-US" sz="2000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Arial Narrow" panose="020B0604020202020204" pitchFamily="34" charset="0"/>
                        </a:rPr>
                        <m:t>0.5∗10</m:t>
                      </m:r>
                    </m:oMath>
                  </m:oMathPara>
                </a14:m>
                <a:endParaRPr lang="en-US" sz="2000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 Narrow" panose="020B0604020202020204" pitchFamily="34" charset="0"/>
                            </a:rPr>
                            <m:t>𝑉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 Narrow" panose="020B0604020202020204" pitchFamily="34" charset="0"/>
                            </a:rPr>
                            <m:t>𝜋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=</m:t>
                      </m:r>
                      <m:r>
                        <a:rPr lang="de-DE" sz="2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 Narrow" panose="020B0604020202020204" pitchFamily="34" charset="0"/>
                        </a:rPr>
                        <m:t>6.91</m:t>
                      </m:r>
                    </m:oMath>
                  </m:oMathPara>
                </a14:m>
                <a:endParaRPr lang="en-US" sz="2000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endParaRPr>
              </a:p>
            </p:txBody>
          </p:sp>
        </mc:Choice>
        <mc:Fallback xmlns=""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40C89856-D7C2-B5B9-95B7-B98AE4EF6A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0929" y="632882"/>
                <a:ext cx="6800110" cy="707886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Freeform 57">
            <a:extLst>
              <a:ext uri="{FF2B5EF4-FFF2-40B4-BE49-F238E27FC236}">
                <a16:creationId xmlns:a16="http://schemas.microsoft.com/office/drawing/2014/main" id="{DB2670D1-6DC7-4E5B-8415-2898368BA11B}"/>
              </a:ext>
            </a:extLst>
          </p:cNvPr>
          <p:cNvSpPr>
            <a:spLocks noChangeAspect="1" noEditPoints="1"/>
          </p:cNvSpPr>
          <p:nvPr/>
        </p:nvSpPr>
        <p:spPr bwMode="auto">
          <a:xfrm rot="19734770">
            <a:off x="759700" y="2572234"/>
            <a:ext cx="1817787" cy="1816786"/>
          </a:xfrm>
          <a:custGeom>
            <a:avLst/>
            <a:gdLst>
              <a:gd name="T0" fmla="*/ 1840 w 2080"/>
              <a:gd name="T1" fmla="*/ 80 h 2080"/>
              <a:gd name="T2" fmla="*/ 1840 w 2080"/>
              <a:gd name="T3" fmla="*/ 1680 h 2080"/>
              <a:gd name="T4" fmla="*/ 1760 w 2080"/>
              <a:gd name="T5" fmla="*/ 1760 h 2080"/>
              <a:gd name="T6" fmla="*/ 1738 w 2080"/>
              <a:gd name="T7" fmla="*/ 1760 h 2080"/>
              <a:gd name="T8" fmla="*/ 1726 w 2080"/>
              <a:gd name="T9" fmla="*/ 1742 h 2080"/>
              <a:gd name="T10" fmla="*/ 880 w 2080"/>
              <a:gd name="T11" fmla="*/ 1280 h 2080"/>
              <a:gd name="T12" fmla="*/ 320 w 2080"/>
              <a:gd name="T13" fmla="*/ 1280 h 2080"/>
              <a:gd name="T14" fmla="*/ 160 w 2080"/>
              <a:gd name="T15" fmla="*/ 1120 h 2080"/>
              <a:gd name="T16" fmla="*/ 120 w 2080"/>
              <a:gd name="T17" fmla="*/ 1120 h 2080"/>
              <a:gd name="T18" fmla="*/ 0 w 2080"/>
              <a:gd name="T19" fmla="*/ 1000 h 2080"/>
              <a:gd name="T20" fmla="*/ 0 w 2080"/>
              <a:gd name="T21" fmla="*/ 760 h 2080"/>
              <a:gd name="T22" fmla="*/ 120 w 2080"/>
              <a:gd name="T23" fmla="*/ 640 h 2080"/>
              <a:gd name="T24" fmla="*/ 160 w 2080"/>
              <a:gd name="T25" fmla="*/ 640 h 2080"/>
              <a:gd name="T26" fmla="*/ 320 w 2080"/>
              <a:gd name="T27" fmla="*/ 480 h 2080"/>
              <a:gd name="T28" fmla="*/ 880 w 2080"/>
              <a:gd name="T29" fmla="*/ 480 h 2080"/>
              <a:gd name="T30" fmla="*/ 1726 w 2080"/>
              <a:gd name="T31" fmla="*/ 18 h 2080"/>
              <a:gd name="T32" fmla="*/ 1738 w 2080"/>
              <a:gd name="T33" fmla="*/ 0 h 2080"/>
              <a:gd name="T34" fmla="*/ 1760 w 2080"/>
              <a:gd name="T35" fmla="*/ 0 h 2080"/>
              <a:gd name="T36" fmla="*/ 1840 w 2080"/>
              <a:gd name="T37" fmla="*/ 80 h 2080"/>
              <a:gd name="T38" fmla="*/ 360 w 2080"/>
              <a:gd name="T39" fmla="*/ 1040 h 2080"/>
              <a:gd name="T40" fmla="*/ 360 w 2080"/>
              <a:gd name="T41" fmla="*/ 1120 h 2080"/>
              <a:gd name="T42" fmla="*/ 880 w 2080"/>
              <a:gd name="T43" fmla="*/ 1120 h 2080"/>
              <a:gd name="T44" fmla="*/ 1615 w 2080"/>
              <a:gd name="T45" fmla="*/ 1380 h 2080"/>
              <a:gd name="T46" fmla="*/ 1665 w 2080"/>
              <a:gd name="T47" fmla="*/ 1318 h 2080"/>
              <a:gd name="T48" fmla="*/ 880 w 2080"/>
              <a:gd name="T49" fmla="*/ 1040 h 2080"/>
              <a:gd name="T50" fmla="*/ 360 w 2080"/>
              <a:gd name="T51" fmla="*/ 1040 h 2080"/>
              <a:gd name="T52" fmla="*/ 1920 w 2080"/>
              <a:gd name="T53" fmla="*/ 628 h 2080"/>
              <a:gd name="T54" fmla="*/ 2080 w 2080"/>
              <a:gd name="T55" fmla="*/ 880 h 2080"/>
              <a:gd name="T56" fmla="*/ 1920 w 2080"/>
              <a:gd name="T57" fmla="*/ 1132 h 2080"/>
              <a:gd name="T58" fmla="*/ 1920 w 2080"/>
              <a:gd name="T59" fmla="*/ 628 h 2080"/>
              <a:gd name="T60" fmla="*/ 924 w 2080"/>
              <a:gd name="T61" fmla="*/ 1360 h 2080"/>
              <a:gd name="T62" fmla="*/ 886 w 2080"/>
              <a:gd name="T63" fmla="*/ 1438 h 2080"/>
              <a:gd name="T64" fmla="*/ 914 w 2080"/>
              <a:gd name="T65" fmla="*/ 1578 h 2080"/>
              <a:gd name="T66" fmla="*/ 1036 w 2080"/>
              <a:gd name="T67" fmla="*/ 1822 h 2080"/>
              <a:gd name="T68" fmla="*/ 1035 w 2080"/>
              <a:gd name="T69" fmla="*/ 2001 h 2080"/>
              <a:gd name="T70" fmla="*/ 880 w 2080"/>
              <a:gd name="T71" fmla="*/ 2080 h 2080"/>
              <a:gd name="T72" fmla="*/ 760 w 2080"/>
              <a:gd name="T73" fmla="*/ 2080 h 2080"/>
              <a:gd name="T74" fmla="*/ 640 w 2080"/>
              <a:gd name="T75" fmla="*/ 2044 h 2080"/>
              <a:gd name="T76" fmla="*/ 564 w 2080"/>
              <a:gd name="T77" fmla="*/ 1936 h 2080"/>
              <a:gd name="T78" fmla="*/ 372 w 2080"/>
              <a:gd name="T79" fmla="*/ 1518 h 2080"/>
              <a:gd name="T80" fmla="*/ 360 w 2080"/>
              <a:gd name="T81" fmla="*/ 1445 h 2080"/>
              <a:gd name="T82" fmla="*/ 360 w 2080"/>
              <a:gd name="T83" fmla="*/ 1360 h 2080"/>
              <a:gd name="T84" fmla="*/ 924 w 2080"/>
              <a:gd name="T85" fmla="*/ 136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80" h="2080">
                <a:moveTo>
                  <a:pt x="1840" y="80"/>
                </a:moveTo>
                <a:cubicBezTo>
                  <a:pt x="1840" y="1680"/>
                  <a:pt x="1840" y="1680"/>
                  <a:pt x="1840" y="1680"/>
                </a:cubicBezTo>
                <a:cubicBezTo>
                  <a:pt x="1840" y="1724"/>
                  <a:pt x="1804" y="1760"/>
                  <a:pt x="1760" y="1760"/>
                </a:cubicBezTo>
                <a:cubicBezTo>
                  <a:pt x="1738" y="1760"/>
                  <a:pt x="1738" y="1760"/>
                  <a:pt x="1738" y="1760"/>
                </a:cubicBezTo>
                <a:cubicBezTo>
                  <a:pt x="1726" y="1742"/>
                  <a:pt x="1726" y="1742"/>
                  <a:pt x="1726" y="1742"/>
                </a:cubicBezTo>
                <a:cubicBezTo>
                  <a:pt x="1542" y="1453"/>
                  <a:pt x="1222" y="1280"/>
                  <a:pt x="880" y="1280"/>
                </a:cubicBezTo>
                <a:cubicBezTo>
                  <a:pt x="320" y="1280"/>
                  <a:pt x="320" y="1280"/>
                  <a:pt x="320" y="1280"/>
                </a:cubicBezTo>
                <a:cubicBezTo>
                  <a:pt x="232" y="1280"/>
                  <a:pt x="160" y="1208"/>
                  <a:pt x="160" y="1120"/>
                </a:cubicBezTo>
                <a:cubicBezTo>
                  <a:pt x="120" y="1120"/>
                  <a:pt x="120" y="1120"/>
                  <a:pt x="120" y="1120"/>
                </a:cubicBezTo>
                <a:cubicBezTo>
                  <a:pt x="54" y="1120"/>
                  <a:pt x="0" y="1066"/>
                  <a:pt x="0" y="1000"/>
                </a:cubicBezTo>
                <a:cubicBezTo>
                  <a:pt x="0" y="760"/>
                  <a:pt x="0" y="760"/>
                  <a:pt x="0" y="760"/>
                </a:cubicBezTo>
                <a:cubicBezTo>
                  <a:pt x="0" y="694"/>
                  <a:pt x="54" y="640"/>
                  <a:pt x="120" y="640"/>
                </a:cubicBezTo>
                <a:cubicBezTo>
                  <a:pt x="160" y="640"/>
                  <a:pt x="160" y="640"/>
                  <a:pt x="160" y="640"/>
                </a:cubicBezTo>
                <a:cubicBezTo>
                  <a:pt x="160" y="552"/>
                  <a:pt x="232" y="480"/>
                  <a:pt x="320" y="480"/>
                </a:cubicBezTo>
                <a:cubicBezTo>
                  <a:pt x="880" y="480"/>
                  <a:pt x="880" y="480"/>
                  <a:pt x="880" y="480"/>
                </a:cubicBezTo>
                <a:cubicBezTo>
                  <a:pt x="1222" y="480"/>
                  <a:pt x="1542" y="307"/>
                  <a:pt x="1726" y="18"/>
                </a:cubicBezTo>
                <a:cubicBezTo>
                  <a:pt x="1738" y="0"/>
                  <a:pt x="1738" y="0"/>
                  <a:pt x="1738" y="0"/>
                </a:cubicBezTo>
                <a:cubicBezTo>
                  <a:pt x="1760" y="0"/>
                  <a:pt x="1760" y="0"/>
                  <a:pt x="1760" y="0"/>
                </a:cubicBezTo>
                <a:cubicBezTo>
                  <a:pt x="1804" y="0"/>
                  <a:pt x="1840" y="36"/>
                  <a:pt x="1840" y="80"/>
                </a:cubicBezTo>
                <a:close/>
                <a:moveTo>
                  <a:pt x="360" y="1040"/>
                </a:moveTo>
                <a:cubicBezTo>
                  <a:pt x="360" y="1120"/>
                  <a:pt x="360" y="1120"/>
                  <a:pt x="360" y="1120"/>
                </a:cubicBezTo>
                <a:cubicBezTo>
                  <a:pt x="880" y="1120"/>
                  <a:pt x="880" y="1120"/>
                  <a:pt x="880" y="1120"/>
                </a:cubicBezTo>
                <a:cubicBezTo>
                  <a:pt x="1147" y="1120"/>
                  <a:pt x="1407" y="1212"/>
                  <a:pt x="1615" y="1380"/>
                </a:cubicBezTo>
                <a:cubicBezTo>
                  <a:pt x="1665" y="1318"/>
                  <a:pt x="1665" y="1318"/>
                  <a:pt x="1665" y="1318"/>
                </a:cubicBezTo>
                <a:cubicBezTo>
                  <a:pt x="1443" y="1138"/>
                  <a:pt x="1166" y="1040"/>
                  <a:pt x="880" y="1040"/>
                </a:cubicBezTo>
                <a:lnTo>
                  <a:pt x="360" y="1040"/>
                </a:lnTo>
                <a:close/>
                <a:moveTo>
                  <a:pt x="1920" y="628"/>
                </a:moveTo>
                <a:cubicBezTo>
                  <a:pt x="2017" y="675"/>
                  <a:pt x="2080" y="772"/>
                  <a:pt x="2080" y="880"/>
                </a:cubicBezTo>
                <a:cubicBezTo>
                  <a:pt x="2080" y="988"/>
                  <a:pt x="2017" y="1086"/>
                  <a:pt x="1920" y="1132"/>
                </a:cubicBezTo>
                <a:lnTo>
                  <a:pt x="1920" y="628"/>
                </a:lnTo>
                <a:close/>
                <a:moveTo>
                  <a:pt x="924" y="1360"/>
                </a:moveTo>
                <a:cubicBezTo>
                  <a:pt x="886" y="1438"/>
                  <a:pt x="886" y="1438"/>
                  <a:pt x="886" y="1438"/>
                </a:cubicBezTo>
                <a:cubicBezTo>
                  <a:pt x="864" y="1480"/>
                  <a:pt x="881" y="1513"/>
                  <a:pt x="914" y="1578"/>
                </a:cubicBezTo>
                <a:cubicBezTo>
                  <a:pt x="1036" y="1822"/>
                  <a:pt x="1036" y="1822"/>
                  <a:pt x="1036" y="1822"/>
                </a:cubicBezTo>
                <a:cubicBezTo>
                  <a:pt x="1064" y="1879"/>
                  <a:pt x="1070" y="1945"/>
                  <a:pt x="1035" y="2001"/>
                </a:cubicBezTo>
                <a:cubicBezTo>
                  <a:pt x="1002" y="2054"/>
                  <a:pt x="942" y="2080"/>
                  <a:pt x="880" y="2080"/>
                </a:cubicBezTo>
                <a:cubicBezTo>
                  <a:pt x="760" y="2080"/>
                  <a:pt x="760" y="2080"/>
                  <a:pt x="760" y="2080"/>
                </a:cubicBezTo>
                <a:cubicBezTo>
                  <a:pt x="711" y="2080"/>
                  <a:pt x="673" y="2069"/>
                  <a:pt x="640" y="2044"/>
                </a:cubicBezTo>
                <a:cubicBezTo>
                  <a:pt x="610" y="2020"/>
                  <a:pt x="586" y="1986"/>
                  <a:pt x="564" y="1936"/>
                </a:cubicBezTo>
                <a:cubicBezTo>
                  <a:pt x="372" y="1518"/>
                  <a:pt x="372" y="1518"/>
                  <a:pt x="372" y="1518"/>
                </a:cubicBezTo>
                <a:cubicBezTo>
                  <a:pt x="360" y="1491"/>
                  <a:pt x="360" y="1470"/>
                  <a:pt x="360" y="1445"/>
                </a:cubicBezTo>
                <a:cubicBezTo>
                  <a:pt x="360" y="1360"/>
                  <a:pt x="360" y="1360"/>
                  <a:pt x="360" y="1360"/>
                </a:cubicBezTo>
                <a:lnTo>
                  <a:pt x="924" y="1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59" name="Rectangle 21">
            <a:extLst>
              <a:ext uri="{FF2B5EF4-FFF2-40B4-BE49-F238E27FC236}">
                <a16:creationId xmlns:a16="http://schemas.microsoft.com/office/drawing/2014/main" id="{20365131-F984-2B40-3548-772DDCED949D}"/>
              </a:ext>
            </a:extLst>
          </p:cNvPr>
          <p:cNvSpPr>
            <a:spLocks/>
          </p:cNvSpPr>
          <p:nvPr/>
        </p:nvSpPr>
        <p:spPr>
          <a:xfrm>
            <a:off x="4630262" y="1856943"/>
            <a:ext cx="46230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FE329D24-ACAA-3C80-A179-8C17A290AF1D}"/>
              </a:ext>
            </a:extLst>
          </p:cNvPr>
          <p:cNvSpPr/>
          <p:nvPr/>
        </p:nvSpPr>
        <p:spPr>
          <a:xfrm>
            <a:off x="4918294" y="2065978"/>
            <a:ext cx="855646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-2.3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A466AE8-727E-6BF7-9B8C-1EA8B9106FB0}"/>
              </a:ext>
            </a:extLst>
          </p:cNvPr>
          <p:cNvSpPr/>
          <p:nvPr/>
        </p:nvSpPr>
        <p:spPr>
          <a:xfrm>
            <a:off x="10284019" y="3983796"/>
            <a:ext cx="682947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?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162ED4B-E13C-2B77-E4E9-DB7E3A687134}"/>
              </a:ext>
            </a:extLst>
          </p:cNvPr>
          <p:cNvSpPr/>
          <p:nvPr/>
        </p:nvSpPr>
        <p:spPr>
          <a:xfrm>
            <a:off x="7505414" y="3983796"/>
            <a:ext cx="682947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2.7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64038063-DEFA-BDC8-99BB-DBC7994F5139}"/>
              </a:ext>
            </a:extLst>
          </p:cNvPr>
          <p:cNvSpPr/>
          <p:nvPr/>
        </p:nvSpPr>
        <p:spPr>
          <a:xfrm>
            <a:off x="4872147" y="3973603"/>
            <a:ext cx="826963" cy="74406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-1.3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0B9B0FA-9779-DA97-7753-9BD036787166}"/>
              </a:ext>
            </a:extLst>
          </p:cNvPr>
          <p:cNvSpPr/>
          <p:nvPr/>
        </p:nvSpPr>
        <p:spPr>
          <a:xfrm>
            <a:off x="7525879" y="2031912"/>
            <a:ext cx="682947" cy="74406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0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8B83A3F-BA70-1053-369C-CE0BD5173AFA}"/>
              </a:ext>
            </a:extLst>
          </p:cNvPr>
          <p:cNvCxnSpPr>
            <a:cxnSpLocks/>
            <a:stCxn id="60" idx="4"/>
            <a:endCxn id="63" idx="0"/>
          </p:cNvCxnSpPr>
          <p:nvPr/>
        </p:nvCxnSpPr>
        <p:spPr>
          <a:xfrm flipH="1">
            <a:off x="5285629" y="2810041"/>
            <a:ext cx="60488" cy="116356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urved Connector 65">
            <a:extLst>
              <a:ext uri="{FF2B5EF4-FFF2-40B4-BE49-F238E27FC236}">
                <a16:creationId xmlns:a16="http://schemas.microsoft.com/office/drawing/2014/main" id="{6C76678D-32DC-F2EA-E64A-586D1F01532C}"/>
              </a:ext>
            </a:extLst>
          </p:cNvPr>
          <p:cNvCxnSpPr>
            <a:cxnSpLocks/>
            <a:stCxn id="60" idx="2"/>
            <a:endCxn id="60" idx="7"/>
          </p:cNvCxnSpPr>
          <p:nvPr/>
        </p:nvCxnSpPr>
        <p:spPr>
          <a:xfrm rot="10800000" flipH="1">
            <a:off x="4918294" y="2174944"/>
            <a:ext cx="730340" cy="263066"/>
          </a:xfrm>
          <a:prstGeom prst="curvedConnector4">
            <a:avLst>
              <a:gd name="adj1" fmla="val -31300"/>
              <a:gd name="adj2" fmla="val 22832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urved Connector 66">
            <a:extLst>
              <a:ext uri="{FF2B5EF4-FFF2-40B4-BE49-F238E27FC236}">
                <a16:creationId xmlns:a16="http://schemas.microsoft.com/office/drawing/2014/main" id="{09D2CAAD-E386-BE26-FAB9-A1A47F1E4DD8}"/>
              </a:ext>
            </a:extLst>
          </p:cNvPr>
          <p:cNvCxnSpPr>
            <a:cxnSpLocks/>
            <a:stCxn id="60" idx="2"/>
            <a:endCxn id="63" idx="2"/>
          </p:cNvCxnSpPr>
          <p:nvPr/>
        </p:nvCxnSpPr>
        <p:spPr>
          <a:xfrm rot="10800000" flipV="1">
            <a:off x="4872148" y="2438009"/>
            <a:ext cx="46147" cy="1907625"/>
          </a:xfrm>
          <a:prstGeom prst="curvedConnector3">
            <a:avLst>
              <a:gd name="adj1" fmla="val 595373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16E71F18-BA5B-7608-7C74-E1360B63E72C}"/>
              </a:ext>
            </a:extLst>
          </p:cNvPr>
          <p:cNvCxnSpPr>
            <a:cxnSpLocks/>
            <a:stCxn id="63" idx="6"/>
            <a:endCxn id="62" idx="2"/>
          </p:cNvCxnSpPr>
          <p:nvPr/>
        </p:nvCxnSpPr>
        <p:spPr>
          <a:xfrm>
            <a:off x="5699110" y="4345635"/>
            <a:ext cx="1806304" cy="1019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CA294C5D-C7C6-AD56-1A1F-DD23ACAB2A6B}"/>
              </a:ext>
            </a:extLst>
          </p:cNvPr>
          <p:cNvCxnSpPr>
            <a:cxnSpLocks/>
            <a:stCxn id="62" idx="6"/>
            <a:endCxn id="61" idx="2"/>
          </p:cNvCxnSpPr>
          <p:nvPr/>
        </p:nvCxnSpPr>
        <p:spPr>
          <a:xfrm>
            <a:off x="8188361" y="4355828"/>
            <a:ext cx="2095658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DF0CE1A-A709-0D09-B4AC-8E2724D694AA}"/>
              </a:ext>
            </a:extLst>
          </p:cNvPr>
          <p:cNvCxnSpPr>
            <a:cxnSpLocks/>
            <a:stCxn id="62" idx="0"/>
            <a:endCxn id="64" idx="2"/>
          </p:cNvCxnSpPr>
          <p:nvPr/>
        </p:nvCxnSpPr>
        <p:spPr>
          <a:xfrm flipV="1">
            <a:off x="7846888" y="2775975"/>
            <a:ext cx="20465" cy="120782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urved Connector 70">
            <a:extLst>
              <a:ext uri="{FF2B5EF4-FFF2-40B4-BE49-F238E27FC236}">
                <a16:creationId xmlns:a16="http://schemas.microsoft.com/office/drawing/2014/main" id="{A0AC715A-BC9F-1EB3-B221-21744E39A6F1}"/>
              </a:ext>
            </a:extLst>
          </p:cNvPr>
          <p:cNvCxnSpPr>
            <a:cxnSpLocks/>
            <a:stCxn id="61" idx="0"/>
            <a:endCxn id="64" idx="3"/>
          </p:cNvCxnSpPr>
          <p:nvPr/>
        </p:nvCxnSpPr>
        <p:spPr>
          <a:xfrm rot="16200000" flipV="1">
            <a:off x="8627234" y="1985536"/>
            <a:ext cx="1579852" cy="2416667"/>
          </a:xfrm>
          <a:prstGeom prst="curvedConnector2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71">
            <a:extLst>
              <a:ext uri="{FF2B5EF4-FFF2-40B4-BE49-F238E27FC236}">
                <a16:creationId xmlns:a16="http://schemas.microsoft.com/office/drawing/2014/main" id="{B4999E81-5D48-0065-0EE2-2BE59B86B2E1}"/>
              </a:ext>
            </a:extLst>
          </p:cNvPr>
          <p:cNvSpPr/>
          <p:nvPr/>
        </p:nvSpPr>
        <p:spPr>
          <a:xfrm>
            <a:off x="7764051" y="5776525"/>
            <a:ext cx="165672" cy="15141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339314F-558F-1769-2639-0C1AB5F0CDF6}"/>
              </a:ext>
            </a:extLst>
          </p:cNvPr>
          <p:cNvCxnSpPr>
            <a:cxnSpLocks/>
            <a:stCxn id="61" idx="3"/>
            <a:endCxn id="72" idx="6"/>
          </p:cNvCxnSpPr>
          <p:nvPr/>
        </p:nvCxnSpPr>
        <p:spPr>
          <a:xfrm flipH="1">
            <a:off x="7929723" y="4618893"/>
            <a:ext cx="2454311" cy="123334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928B46E0-C9A9-F950-9B18-4065F8A00041}"/>
              </a:ext>
            </a:extLst>
          </p:cNvPr>
          <p:cNvCxnSpPr>
            <a:cxnSpLocks/>
            <a:stCxn id="72" idx="0"/>
            <a:endCxn id="62" idx="4"/>
          </p:cNvCxnSpPr>
          <p:nvPr/>
        </p:nvCxnSpPr>
        <p:spPr>
          <a:xfrm flipV="1">
            <a:off x="7846887" y="4727859"/>
            <a:ext cx="1" cy="104866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urved Connector 74">
            <a:extLst>
              <a:ext uri="{FF2B5EF4-FFF2-40B4-BE49-F238E27FC236}">
                <a16:creationId xmlns:a16="http://schemas.microsoft.com/office/drawing/2014/main" id="{09F5462D-ADC6-FC99-445A-185F15C410C5}"/>
              </a:ext>
            </a:extLst>
          </p:cNvPr>
          <p:cNvCxnSpPr>
            <a:cxnSpLocks/>
            <a:stCxn id="72" idx="4"/>
            <a:endCxn id="61" idx="4"/>
          </p:cNvCxnSpPr>
          <p:nvPr/>
        </p:nvCxnSpPr>
        <p:spPr>
          <a:xfrm rot="5400000" flipH="1" flipV="1">
            <a:off x="8636148" y="3938598"/>
            <a:ext cx="1200084" cy="2778606"/>
          </a:xfrm>
          <a:prstGeom prst="curvedConnector3">
            <a:avLst>
              <a:gd name="adj1" fmla="val -19049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urved Connector 75">
            <a:extLst>
              <a:ext uri="{FF2B5EF4-FFF2-40B4-BE49-F238E27FC236}">
                <a16:creationId xmlns:a16="http://schemas.microsoft.com/office/drawing/2014/main" id="{88FE5C80-1F24-AE7B-6E3B-2BB9DCE8EA8D}"/>
              </a:ext>
            </a:extLst>
          </p:cNvPr>
          <p:cNvCxnSpPr>
            <a:cxnSpLocks/>
            <a:stCxn id="72" idx="3"/>
            <a:endCxn id="63" idx="4"/>
          </p:cNvCxnSpPr>
          <p:nvPr/>
        </p:nvCxnSpPr>
        <p:spPr>
          <a:xfrm rot="5400000" flipH="1">
            <a:off x="5942920" y="4060375"/>
            <a:ext cx="1188102" cy="2502684"/>
          </a:xfrm>
          <a:prstGeom prst="curvedConnector3">
            <a:avLst>
              <a:gd name="adj1" fmla="val -24186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3CD35AE4-98D8-026E-CC70-41C8FB9B4660}"/>
              </a:ext>
            </a:extLst>
          </p:cNvPr>
          <p:cNvSpPr txBox="1"/>
          <p:nvPr/>
        </p:nvSpPr>
        <p:spPr>
          <a:xfrm>
            <a:off x="4272243" y="1340768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cebook</a:t>
            </a:r>
          </a:p>
          <a:p>
            <a:r>
              <a:rPr lang="en-US" dirty="0"/>
              <a:t>R = -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8000AB-AF11-AB40-E044-40B6EC0DC89C}"/>
              </a:ext>
            </a:extLst>
          </p:cNvPr>
          <p:cNvSpPr txBox="1"/>
          <p:nvPr/>
        </p:nvSpPr>
        <p:spPr>
          <a:xfrm>
            <a:off x="3863752" y="2745491"/>
            <a:ext cx="717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it</a:t>
            </a:r>
          </a:p>
          <a:p>
            <a:r>
              <a:rPr lang="en-US" dirty="0"/>
              <a:t>R = 0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1A2C4BF-0CAA-3055-DACE-972AEE84177D}"/>
              </a:ext>
            </a:extLst>
          </p:cNvPr>
          <p:cNvSpPr txBox="1"/>
          <p:nvPr/>
        </p:nvSpPr>
        <p:spPr>
          <a:xfrm>
            <a:off x="5408276" y="3033875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cebook</a:t>
            </a:r>
          </a:p>
          <a:p>
            <a:r>
              <a:rPr lang="en-US" dirty="0"/>
              <a:t>R = -1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1E0EEAF-9DAD-C098-3430-BDD93D48484F}"/>
              </a:ext>
            </a:extLst>
          </p:cNvPr>
          <p:cNvSpPr txBox="1"/>
          <p:nvPr/>
        </p:nvSpPr>
        <p:spPr>
          <a:xfrm>
            <a:off x="5998414" y="4369786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-2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E529981-A13A-56F3-A2B6-1A8AAD942E71}"/>
              </a:ext>
            </a:extLst>
          </p:cNvPr>
          <p:cNvSpPr txBox="1"/>
          <p:nvPr/>
        </p:nvSpPr>
        <p:spPr>
          <a:xfrm>
            <a:off x="8550300" y="3716405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-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5C685BE-4C4F-F870-3E57-7B7C5D2ACE24}"/>
              </a:ext>
            </a:extLst>
          </p:cNvPr>
          <p:cNvSpPr txBox="1"/>
          <p:nvPr/>
        </p:nvSpPr>
        <p:spPr>
          <a:xfrm>
            <a:off x="6918669" y="2953239"/>
            <a:ext cx="11286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eep</a:t>
            </a:r>
          </a:p>
          <a:p>
            <a:r>
              <a:rPr lang="en-US" dirty="0"/>
              <a:t>R = 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2CD88A5-D399-AE5C-3AC0-379886896C62}"/>
              </a:ext>
            </a:extLst>
          </p:cNvPr>
          <p:cNvSpPr/>
          <p:nvPr/>
        </p:nvSpPr>
        <p:spPr>
          <a:xfrm>
            <a:off x="10070524" y="2403943"/>
            <a:ext cx="8662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tudy</a:t>
            </a:r>
          </a:p>
          <a:p>
            <a:r>
              <a:rPr lang="en-US" dirty="0"/>
              <a:t>R = 10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597B883-701C-7B84-3BBF-611182450530}"/>
              </a:ext>
            </a:extLst>
          </p:cNvPr>
          <p:cNvSpPr txBox="1"/>
          <p:nvPr/>
        </p:nvSpPr>
        <p:spPr>
          <a:xfrm>
            <a:off x="8566667" y="4589232"/>
            <a:ext cx="654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ub</a:t>
            </a:r>
          </a:p>
          <a:p>
            <a:r>
              <a:rPr lang="en-US" dirty="0"/>
              <a:t>R =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B4AFCD4-B26F-58D7-DF04-69CD487A2577}"/>
              </a:ext>
            </a:extLst>
          </p:cNvPr>
          <p:cNvSpPr txBox="1"/>
          <p:nvPr/>
        </p:nvSpPr>
        <p:spPr>
          <a:xfrm>
            <a:off x="7329063" y="5099891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7B704DD-58F6-02EA-4C61-AAED3869EDDA}"/>
              </a:ext>
            </a:extLst>
          </p:cNvPr>
          <p:cNvSpPr txBox="1"/>
          <p:nvPr/>
        </p:nvSpPr>
        <p:spPr>
          <a:xfrm>
            <a:off x="9351659" y="6159145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6D1FA14-4E0B-4704-5785-1FE4F3BB2960}"/>
              </a:ext>
            </a:extLst>
          </p:cNvPr>
          <p:cNvSpPr txBox="1"/>
          <p:nvPr/>
        </p:nvSpPr>
        <p:spPr>
          <a:xfrm>
            <a:off x="6534971" y="5721102"/>
            <a:ext cx="654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.2</a:t>
            </a:r>
          </a:p>
        </p:txBody>
      </p:sp>
      <p:sp>
        <p:nvSpPr>
          <p:cNvPr id="88" name="Slide Number Placeholder 3">
            <a:extLst>
              <a:ext uri="{FF2B5EF4-FFF2-40B4-BE49-F238E27FC236}">
                <a16:creationId xmlns:a16="http://schemas.microsoft.com/office/drawing/2014/main" id="{0DEAF048-CE66-C401-7810-066045A6986B}"/>
              </a:ext>
            </a:extLst>
          </p:cNvPr>
          <p:cNvSpPr txBox="1">
            <a:spLocks/>
          </p:cNvSpPr>
          <p:nvPr/>
        </p:nvSpPr>
        <p:spPr>
          <a:xfrm>
            <a:off x="7462325" y="610908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4FFAFC3-103A-F94C-BA74-9AD3302E0953}" type="slidenum">
              <a:rPr lang="en-US" smtClean="0"/>
              <a:pPr/>
              <a:t>9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DB8B1FBB-C487-153C-EA32-13C936862467}"/>
                  </a:ext>
                </a:extLst>
              </p:cNvPr>
              <p:cNvSpPr txBox="1"/>
              <p:nvPr/>
            </p:nvSpPr>
            <p:spPr>
              <a:xfrm>
                <a:off x="355647" y="5306885"/>
                <a:ext cx="4588509" cy="107196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</m:e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b="0" dirty="0">
                  <a:ea typeface="Cambria Math" panose="02040503050406030204" pitchFamily="18" charset="0"/>
                </a:endParaRPr>
              </a:p>
              <a:p>
                <a:pPr marL="0" indent="0">
                  <a:lnSpc>
                    <a:spcPct val="10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m:rPr>
                                  <m:brk m:alnAt="7"/>
                                </m:r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</m:sub>
                            <m:sup/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[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]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en-DE" dirty="0"/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DB8B1FBB-C487-153C-EA32-13C9368624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47" y="5306885"/>
                <a:ext cx="4588509" cy="1071960"/>
              </a:xfrm>
              <a:prstGeom prst="rect">
                <a:avLst/>
              </a:prstGeom>
              <a:blipFill>
                <a:blip r:embed="rId3"/>
                <a:stretch>
                  <a:fillRect l="-9366" t="-62353" b="-11882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30876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9</TotalTime>
  <Words>481</Words>
  <Application>Microsoft Macintosh PowerPoint</Application>
  <PresentationFormat>Widescreen</PresentationFormat>
  <Paragraphs>11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Narrow</vt:lpstr>
      <vt:lpstr>Calibri</vt:lpstr>
      <vt:lpstr>Cambria Math</vt:lpstr>
      <vt:lpstr>Wingdings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Janik Muires</cp:lastModifiedBy>
  <cp:revision>85</cp:revision>
  <dcterms:created xsi:type="dcterms:W3CDTF">2019-12-26T20:10:50Z</dcterms:created>
  <dcterms:modified xsi:type="dcterms:W3CDTF">2022-06-22T19:58:14Z</dcterms:modified>
</cp:coreProperties>
</file>